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media/image59.jpg" ContentType="image/png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6" r:id="rId1"/>
    <p:sldMasterId id="2147483778" r:id="rId2"/>
  </p:sldMasterIdLst>
  <p:notesMasterIdLst>
    <p:notesMasterId r:id="rId17"/>
  </p:notesMasterIdLst>
  <p:handoutMasterIdLst>
    <p:handoutMasterId r:id="rId18"/>
  </p:handoutMasterIdLst>
  <p:sldIdLst>
    <p:sldId id="329" r:id="rId3"/>
    <p:sldId id="294" r:id="rId4"/>
    <p:sldId id="353" r:id="rId5"/>
    <p:sldId id="336" r:id="rId6"/>
    <p:sldId id="351" r:id="rId7"/>
    <p:sldId id="337" r:id="rId8"/>
    <p:sldId id="323" r:id="rId9"/>
    <p:sldId id="348" r:id="rId10"/>
    <p:sldId id="339" r:id="rId11"/>
    <p:sldId id="357" r:id="rId12"/>
    <p:sldId id="345" r:id="rId13"/>
    <p:sldId id="330" r:id="rId14"/>
    <p:sldId id="354" r:id="rId15"/>
    <p:sldId id="362" r:id="rId16"/>
  </p:sldIdLst>
  <p:sldSz cx="10688638" cy="7562850"/>
  <p:notesSz cx="6858000" cy="9144000"/>
  <p:custDataLst>
    <p:tags r:id="rId19"/>
  </p:custDataLst>
  <p:defaultTextStyle>
    <a:defPPr>
      <a:defRPr lang="ru-RU"/>
    </a:defPPr>
    <a:lvl1pPr algn="l" defTabSz="494929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1pPr>
    <a:lvl2pPr marL="494929" indent="-39535" algn="l" defTabSz="494929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2pPr>
    <a:lvl3pPr marL="991439" indent="-80646" algn="l" defTabSz="494929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3pPr>
    <a:lvl4pPr marL="1486354" indent="-120176" algn="l" defTabSz="494929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4pPr>
    <a:lvl5pPr marL="1982863" indent="-161288" algn="l" defTabSz="494929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5pPr>
    <a:lvl6pPr marL="2276971" algn="l" defTabSz="910786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6pPr>
    <a:lvl7pPr marL="2732363" algn="l" defTabSz="910786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7pPr>
    <a:lvl8pPr marL="3187763" algn="l" defTabSz="910786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8pPr>
    <a:lvl9pPr marL="3643155" algn="l" defTabSz="910786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1B8ADE4A-33AA-4D9A-B911-9141F7E48E4E}">
          <p14:sldIdLst>
            <p14:sldId id="329"/>
            <p14:sldId id="294"/>
            <p14:sldId id="353"/>
            <p14:sldId id="336"/>
            <p14:sldId id="351"/>
            <p14:sldId id="337"/>
            <p14:sldId id="323"/>
            <p14:sldId id="348"/>
            <p14:sldId id="339"/>
            <p14:sldId id="357"/>
            <p14:sldId id="345"/>
            <p14:sldId id="330"/>
            <p14:sldId id="354"/>
            <p14:sldId id="362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681E"/>
    <a:srgbClr val="203767"/>
    <a:srgbClr val="17375E"/>
    <a:srgbClr val="D4DFF3"/>
    <a:srgbClr val="A62714"/>
    <a:srgbClr val="A8A8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11" autoAdjust="0"/>
    <p:restoredTop sz="95560" autoAdjust="0"/>
  </p:normalViewPr>
  <p:slideViewPr>
    <p:cSldViewPr snapToGrid="0" snapToObjects="1">
      <p:cViewPr>
        <p:scale>
          <a:sx n="55" d="100"/>
          <a:sy n="55" d="100"/>
        </p:scale>
        <p:origin x="-2034" y="-678"/>
      </p:cViewPr>
      <p:guideLst>
        <p:guide orient="horz" pos="2382"/>
        <p:guide pos="336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54" d="100"/>
          <a:sy n="54" d="100"/>
        </p:scale>
        <p:origin x="-2826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2" Type="http://schemas.microsoft.com/office/2007/relationships/hdphoto" Target="../media/hdphoto1.wdp"/><Relationship Id="rId1" Type="http://schemas.openxmlformats.org/officeDocument/2006/relationships/image" Target="../media/image62.png"/></Relationships>
</file>

<file path=ppt/diagrams/_rels/drawing1.xml.rels><?xml version="1.0" encoding="UTF-8" standalone="yes"?>
<Relationships xmlns="http://schemas.openxmlformats.org/package/2006/relationships"><Relationship Id="rId2" Type="http://schemas.microsoft.com/office/2007/relationships/hdphoto" Target="../media/hdphoto1.wdp"/><Relationship Id="rId1" Type="http://schemas.openxmlformats.org/officeDocument/2006/relationships/image" Target="../media/image6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E3E4E88-C53C-4057-8F14-0B1D156F530C}" type="doc">
      <dgm:prSet loTypeId="urn:microsoft.com/office/officeart/2005/8/layout/radial6" loCatId="relationship" qsTypeId="urn:microsoft.com/office/officeart/2005/8/quickstyle/3d6" qsCatId="3D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1F46847B-7FF3-493D-8A47-18537EF8A947}">
      <dgm:prSet phldrT="[Текст]" custT="1"/>
      <dgm:spPr/>
      <dgm:t>
        <a:bodyPr/>
        <a:lstStyle/>
        <a:p>
          <a:r>
            <a:rPr lang="ru-RU" sz="24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Грузовых перевозок</a:t>
          </a:r>
          <a:endParaRPr lang="ru-RU" sz="2400" b="1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56313D1D-269E-4F28-A3BA-5BF87369FF8C}" type="parTrans" cxnId="{F18E3D42-BF7A-4ECB-940E-5F2425F8CF1C}">
      <dgm:prSet/>
      <dgm:spPr/>
      <dgm:t>
        <a:bodyPr/>
        <a:lstStyle/>
        <a:p>
          <a:endParaRPr lang="ru-RU"/>
        </a:p>
      </dgm:t>
    </dgm:pt>
    <dgm:pt modelId="{16A64267-29FC-4614-9630-3797004B3D2F}" type="sibTrans" cxnId="{F18E3D42-BF7A-4ECB-940E-5F2425F8CF1C}">
      <dgm:prSet/>
      <dgm:spPr/>
      <dgm:t>
        <a:bodyPr/>
        <a:lstStyle/>
        <a:p>
          <a:endParaRPr lang="ru-RU"/>
        </a:p>
      </dgm:t>
    </dgm:pt>
    <dgm:pt modelId="{C3EEB650-ED1F-46B2-A8DB-456BF47D69E7}">
      <dgm:prSet phldrT="[Текст]" custT="1"/>
      <dgm:spPr/>
      <dgm:t>
        <a:bodyPr/>
        <a:lstStyle/>
        <a:p>
          <a:r>
            <a:rPr lang="ru-RU" sz="20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Международных и  </a:t>
          </a:r>
          <a:r>
            <a:rPr lang="ru-RU" sz="2000" b="1" dirty="0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мультимодальных</a:t>
          </a:r>
          <a:r>
            <a:rPr lang="ru-RU" sz="20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перевозок</a:t>
          </a:r>
          <a:endParaRPr lang="ru-RU" sz="2000" b="1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96665EC7-C8AC-4578-88F4-8E9C6C305D5E}" type="parTrans" cxnId="{74E4E871-A285-4AD7-8B08-14E6DC91A0B8}">
      <dgm:prSet/>
      <dgm:spPr/>
      <dgm:t>
        <a:bodyPr/>
        <a:lstStyle/>
        <a:p>
          <a:endParaRPr lang="ru-RU"/>
        </a:p>
      </dgm:t>
    </dgm:pt>
    <dgm:pt modelId="{77EE346F-3915-40C4-9D23-4880F730C672}" type="sibTrans" cxnId="{74E4E871-A285-4AD7-8B08-14E6DC91A0B8}">
      <dgm:prSet/>
      <dgm:spPr/>
      <dgm:t>
        <a:bodyPr/>
        <a:lstStyle/>
        <a:p>
          <a:endParaRPr lang="ru-RU"/>
        </a:p>
      </dgm:t>
    </dgm:pt>
    <dgm:pt modelId="{33161EAA-0D63-481D-8A1B-2EB1106472C3}">
      <dgm:prSet custT="1"/>
      <dgm:spPr/>
      <dgm:t>
        <a:bodyPr/>
        <a:lstStyle/>
        <a:p>
          <a:r>
            <a:rPr lang="ru-RU" sz="20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Организация</a:t>
          </a:r>
        </a:p>
        <a:p>
          <a:r>
            <a:rPr lang="ru-RU" sz="20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вооруженного сопровождения грузов по РФ и СНГ</a:t>
          </a:r>
          <a:endParaRPr lang="ru-RU" sz="2000" b="1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B2822CB6-FE6F-424E-9006-25EB3FCAF79A}" type="parTrans" cxnId="{3D5542E2-9AC8-483D-AD3D-56383DB1C4D7}">
      <dgm:prSet/>
      <dgm:spPr/>
      <dgm:t>
        <a:bodyPr/>
        <a:lstStyle/>
        <a:p>
          <a:endParaRPr lang="ru-RU"/>
        </a:p>
      </dgm:t>
    </dgm:pt>
    <dgm:pt modelId="{54536992-EB51-4FED-AC59-FC1268C7315B}" type="sibTrans" cxnId="{3D5542E2-9AC8-483D-AD3D-56383DB1C4D7}">
      <dgm:prSet/>
      <dgm:spPr/>
      <dgm:t>
        <a:bodyPr/>
        <a:lstStyle/>
        <a:p>
          <a:endParaRPr lang="ru-RU"/>
        </a:p>
      </dgm:t>
    </dgm:pt>
    <dgm:pt modelId="{3B58F0B9-9DB1-4514-B5D6-5E6F71C970AD}">
      <dgm:prSet phldrT="[Текст]"/>
      <dgm:spPr>
        <a:blipFill rotWithShape="0">
          <a:blip xmlns:r="http://schemas.openxmlformats.org/officeDocument/2006/relationships" r:embed="rId1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colorTemperature colorTemp="7200"/>
                    </a14:imgEffect>
                  </a14:imgLayer>
                </a14:imgProps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ru-RU" dirty="0"/>
        </a:p>
      </dgm:t>
    </dgm:pt>
    <dgm:pt modelId="{5643B2F9-3259-4242-A2C4-D945FEE4FAE6}" type="sibTrans" cxnId="{D009788F-CEE9-4A92-90FD-63982770A101}">
      <dgm:prSet/>
      <dgm:spPr/>
      <dgm:t>
        <a:bodyPr/>
        <a:lstStyle/>
        <a:p>
          <a:endParaRPr lang="ru-RU"/>
        </a:p>
      </dgm:t>
    </dgm:pt>
    <dgm:pt modelId="{BE6FB3D6-FF24-4B33-AF4D-B3612ACCD415}" type="parTrans" cxnId="{D009788F-CEE9-4A92-90FD-63982770A101}">
      <dgm:prSet/>
      <dgm:spPr/>
      <dgm:t>
        <a:bodyPr/>
        <a:lstStyle/>
        <a:p>
          <a:endParaRPr lang="ru-RU"/>
        </a:p>
      </dgm:t>
    </dgm:pt>
    <dgm:pt modelId="{90AF37ED-A056-46E5-B47B-BB5975519D3B}" type="pres">
      <dgm:prSet presAssocID="{1E3E4E88-C53C-4057-8F14-0B1D156F530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D484A2E-8BC7-4F6D-A1F4-D266924DE5CB}" type="pres">
      <dgm:prSet presAssocID="{3B58F0B9-9DB1-4514-B5D6-5E6F71C970AD}" presName="centerShape" presStyleLbl="node0" presStyleIdx="0" presStyleCnt="1" custScaleX="118592" custScaleY="103273" custLinFactNeighborX="-513"/>
      <dgm:spPr/>
      <dgm:t>
        <a:bodyPr/>
        <a:lstStyle/>
        <a:p>
          <a:endParaRPr lang="ru-RU"/>
        </a:p>
      </dgm:t>
    </dgm:pt>
    <dgm:pt modelId="{556D21AF-D864-4F95-B8E6-13D0D8D287D6}" type="pres">
      <dgm:prSet presAssocID="{1F46847B-7FF3-493D-8A47-18537EF8A947}" presName="node" presStyleLbl="node1" presStyleIdx="0" presStyleCnt="3" custScaleX="194077" custScaleY="105317" custRadScaleRad="88792" custRadScaleInc="107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FFF1102-2A20-4E15-AECE-B7D23DFAB06E}" type="pres">
      <dgm:prSet presAssocID="{1F46847B-7FF3-493D-8A47-18537EF8A947}" presName="dummy" presStyleCnt="0"/>
      <dgm:spPr/>
      <dgm:t>
        <a:bodyPr/>
        <a:lstStyle/>
        <a:p>
          <a:endParaRPr lang="ru-RU"/>
        </a:p>
      </dgm:t>
    </dgm:pt>
    <dgm:pt modelId="{7B5B307E-689B-4474-87D1-C6EBF68C98F5}" type="pres">
      <dgm:prSet presAssocID="{16A64267-29FC-4614-9630-3797004B3D2F}" presName="sibTrans" presStyleLbl="sibTrans2D1" presStyleIdx="0" presStyleCnt="3"/>
      <dgm:spPr/>
      <dgm:t>
        <a:bodyPr/>
        <a:lstStyle/>
        <a:p>
          <a:endParaRPr lang="ru-RU"/>
        </a:p>
      </dgm:t>
    </dgm:pt>
    <dgm:pt modelId="{24AD83FC-91FF-4236-A889-B16C838E992F}" type="pres">
      <dgm:prSet presAssocID="{C3EEB650-ED1F-46B2-A8DB-456BF47D69E7}" presName="node" presStyleLbl="node1" presStyleIdx="1" presStyleCnt="3" custScaleX="197644" custScaleY="11960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E3448F1-1387-460C-811B-8E717C8E70F4}" type="pres">
      <dgm:prSet presAssocID="{C3EEB650-ED1F-46B2-A8DB-456BF47D69E7}" presName="dummy" presStyleCnt="0"/>
      <dgm:spPr/>
      <dgm:t>
        <a:bodyPr/>
        <a:lstStyle/>
        <a:p>
          <a:endParaRPr lang="ru-RU"/>
        </a:p>
      </dgm:t>
    </dgm:pt>
    <dgm:pt modelId="{F78ADD2A-A85E-4F9A-BAFE-D03512A02E85}" type="pres">
      <dgm:prSet presAssocID="{77EE346F-3915-40C4-9D23-4880F730C672}" presName="sibTrans" presStyleLbl="sibTrans2D1" presStyleIdx="1" presStyleCnt="3" custScaleX="95849" custScaleY="101937"/>
      <dgm:spPr/>
      <dgm:t>
        <a:bodyPr/>
        <a:lstStyle/>
        <a:p>
          <a:endParaRPr lang="ru-RU"/>
        </a:p>
      </dgm:t>
    </dgm:pt>
    <dgm:pt modelId="{8A102336-B814-4917-81DE-EA9E79BEF3DB}" type="pres">
      <dgm:prSet presAssocID="{33161EAA-0D63-481D-8A1B-2EB1106472C3}" presName="node" presStyleLbl="node1" presStyleIdx="2" presStyleCnt="3" custScaleX="193921" custScaleY="12081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67865AD-5FF3-405B-9EA8-2DDB139C89DB}" type="pres">
      <dgm:prSet presAssocID="{33161EAA-0D63-481D-8A1B-2EB1106472C3}" presName="dummy" presStyleCnt="0"/>
      <dgm:spPr/>
      <dgm:t>
        <a:bodyPr/>
        <a:lstStyle/>
        <a:p>
          <a:endParaRPr lang="ru-RU"/>
        </a:p>
      </dgm:t>
    </dgm:pt>
    <dgm:pt modelId="{AF33F275-C77C-41F8-BA24-A4B9E80A243C}" type="pres">
      <dgm:prSet presAssocID="{54536992-EB51-4FED-AC59-FC1268C7315B}" presName="sibTrans" presStyleLbl="sibTrans2D1" presStyleIdx="2" presStyleCnt="3"/>
      <dgm:spPr/>
      <dgm:t>
        <a:bodyPr/>
        <a:lstStyle/>
        <a:p>
          <a:endParaRPr lang="ru-RU"/>
        </a:p>
      </dgm:t>
    </dgm:pt>
  </dgm:ptLst>
  <dgm:cxnLst>
    <dgm:cxn modelId="{A311CBB5-BD0C-4BAD-A555-F0C8224DC9D7}" type="presOf" srcId="{33161EAA-0D63-481D-8A1B-2EB1106472C3}" destId="{8A102336-B814-4917-81DE-EA9E79BEF3DB}" srcOrd="0" destOrd="0" presId="urn:microsoft.com/office/officeart/2005/8/layout/radial6"/>
    <dgm:cxn modelId="{F18E3D42-BF7A-4ECB-940E-5F2425F8CF1C}" srcId="{3B58F0B9-9DB1-4514-B5D6-5E6F71C970AD}" destId="{1F46847B-7FF3-493D-8A47-18537EF8A947}" srcOrd="0" destOrd="0" parTransId="{56313D1D-269E-4F28-A3BA-5BF87369FF8C}" sibTransId="{16A64267-29FC-4614-9630-3797004B3D2F}"/>
    <dgm:cxn modelId="{0BA40D16-40A4-4484-8AD0-B1A39C915927}" type="presOf" srcId="{77EE346F-3915-40C4-9D23-4880F730C672}" destId="{F78ADD2A-A85E-4F9A-BAFE-D03512A02E85}" srcOrd="0" destOrd="0" presId="urn:microsoft.com/office/officeart/2005/8/layout/radial6"/>
    <dgm:cxn modelId="{170026B4-DB08-49F0-B1D8-44C542822EDE}" type="presOf" srcId="{16A64267-29FC-4614-9630-3797004B3D2F}" destId="{7B5B307E-689B-4474-87D1-C6EBF68C98F5}" srcOrd="0" destOrd="0" presId="urn:microsoft.com/office/officeart/2005/8/layout/radial6"/>
    <dgm:cxn modelId="{9B216B58-927A-4C05-9F21-02C5AA7C7847}" type="presOf" srcId="{C3EEB650-ED1F-46B2-A8DB-456BF47D69E7}" destId="{24AD83FC-91FF-4236-A889-B16C838E992F}" srcOrd="0" destOrd="0" presId="urn:microsoft.com/office/officeart/2005/8/layout/radial6"/>
    <dgm:cxn modelId="{74E4E871-A285-4AD7-8B08-14E6DC91A0B8}" srcId="{3B58F0B9-9DB1-4514-B5D6-5E6F71C970AD}" destId="{C3EEB650-ED1F-46B2-A8DB-456BF47D69E7}" srcOrd="1" destOrd="0" parTransId="{96665EC7-C8AC-4578-88F4-8E9C6C305D5E}" sibTransId="{77EE346F-3915-40C4-9D23-4880F730C672}"/>
    <dgm:cxn modelId="{8B2A07FA-ED4A-4681-9F35-F0AB3C227D59}" type="presOf" srcId="{1E3E4E88-C53C-4057-8F14-0B1D156F530C}" destId="{90AF37ED-A056-46E5-B47B-BB5975519D3B}" srcOrd="0" destOrd="0" presId="urn:microsoft.com/office/officeart/2005/8/layout/radial6"/>
    <dgm:cxn modelId="{A487C853-2CDD-47A0-8F22-EE038D023009}" type="presOf" srcId="{3B58F0B9-9DB1-4514-B5D6-5E6F71C970AD}" destId="{BD484A2E-8BC7-4F6D-A1F4-D266924DE5CB}" srcOrd="0" destOrd="0" presId="urn:microsoft.com/office/officeart/2005/8/layout/radial6"/>
    <dgm:cxn modelId="{9A996CB4-7132-4EC6-BE51-1C2751805373}" type="presOf" srcId="{54536992-EB51-4FED-AC59-FC1268C7315B}" destId="{AF33F275-C77C-41F8-BA24-A4B9E80A243C}" srcOrd="0" destOrd="0" presId="urn:microsoft.com/office/officeart/2005/8/layout/radial6"/>
    <dgm:cxn modelId="{3D5542E2-9AC8-483D-AD3D-56383DB1C4D7}" srcId="{3B58F0B9-9DB1-4514-B5D6-5E6F71C970AD}" destId="{33161EAA-0D63-481D-8A1B-2EB1106472C3}" srcOrd="2" destOrd="0" parTransId="{B2822CB6-FE6F-424E-9006-25EB3FCAF79A}" sibTransId="{54536992-EB51-4FED-AC59-FC1268C7315B}"/>
    <dgm:cxn modelId="{E4BA8024-B903-4CE6-8700-0099A214A91F}" type="presOf" srcId="{1F46847B-7FF3-493D-8A47-18537EF8A947}" destId="{556D21AF-D864-4F95-B8E6-13D0D8D287D6}" srcOrd="0" destOrd="0" presId="urn:microsoft.com/office/officeart/2005/8/layout/radial6"/>
    <dgm:cxn modelId="{D009788F-CEE9-4A92-90FD-63982770A101}" srcId="{1E3E4E88-C53C-4057-8F14-0B1D156F530C}" destId="{3B58F0B9-9DB1-4514-B5D6-5E6F71C970AD}" srcOrd="0" destOrd="0" parTransId="{BE6FB3D6-FF24-4B33-AF4D-B3612ACCD415}" sibTransId="{5643B2F9-3259-4242-A2C4-D945FEE4FAE6}"/>
    <dgm:cxn modelId="{EE34B662-1092-45A5-A097-28B011D11AB6}" type="presParOf" srcId="{90AF37ED-A056-46E5-B47B-BB5975519D3B}" destId="{BD484A2E-8BC7-4F6D-A1F4-D266924DE5CB}" srcOrd="0" destOrd="0" presId="urn:microsoft.com/office/officeart/2005/8/layout/radial6"/>
    <dgm:cxn modelId="{4F0B8E4D-8510-424F-8CF7-C085A9B1FB84}" type="presParOf" srcId="{90AF37ED-A056-46E5-B47B-BB5975519D3B}" destId="{556D21AF-D864-4F95-B8E6-13D0D8D287D6}" srcOrd="1" destOrd="0" presId="urn:microsoft.com/office/officeart/2005/8/layout/radial6"/>
    <dgm:cxn modelId="{393B458A-2138-4132-A8AB-561404FCE6CB}" type="presParOf" srcId="{90AF37ED-A056-46E5-B47B-BB5975519D3B}" destId="{AFFF1102-2A20-4E15-AECE-B7D23DFAB06E}" srcOrd="2" destOrd="0" presId="urn:microsoft.com/office/officeart/2005/8/layout/radial6"/>
    <dgm:cxn modelId="{0AE4F3B1-B991-4241-A80B-2C5CD1758675}" type="presParOf" srcId="{90AF37ED-A056-46E5-B47B-BB5975519D3B}" destId="{7B5B307E-689B-4474-87D1-C6EBF68C98F5}" srcOrd="3" destOrd="0" presId="urn:microsoft.com/office/officeart/2005/8/layout/radial6"/>
    <dgm:cxn modelId="{6542523B-629A-4E56-ACD7-CBDC1DFE5A54}" type="presParOf" srcId="{90AF37ED-A056-46E5-B47B-BB5975519D3B}" destId="{24AD83FC-91FF-4236-A889-B16C838E992F}" srcOrd="4" destOrd="0" presId="urn:microsoft.com/office/officeart/2005/8/layout/radial6"/>
    <dgm:cxn modelId="{90DE2783-57A3-4068-99EF-B0488C18FC79}" type="presParOf" srcId="{90AF37ED-A056-46E5-B47B-BB5975519D3B}" destId="{0E3448F1-1387-460C-811B-8E717C8E70F4}" srcOrd="5" destOrd="0" presId="urn:microsoft.com/office/officeart/2005/8/layout/radial6"/>
    <dgm:cxn modelId="{C2F17088-F433-4604-8C99-EA0B24FB519D}" type="presParOf" srcId="{90AF37ED-A056-46E5-B47B-BB5975519D3B}" destId="{F78ADD2A-A85E-4F9A-BAFE-D03512A02E85}" srcOrd="6" destOrd="0" presId="urn:microsoft.com/office/officeart/2005/8/layout/radial6"/>
    <dgm:cxn modelId="{8FD1B5DD-5203-4E29-8044-D3DD494E47EA}" type="presParOf" srcId="{90AF37ED-A056-46E5-B47B-BB5975519D3B}" destId="{8A102336-B814-4917-81DE-EA9E79BEF3DB}" srcOrd="7" destOrd="0" presId="urn:microsoft.com/office/officeart/2005/8/layout/radial6"/>
    <dgm:cxn modelId="{F119F9E1-C3D9-4333-A82C-C5A9140BCA4D}" type="presParOf" srcId="{90AF37ED-A056-46E5-B47B-BB5975519D3B}" destId="{F67865AD-5FF3-405B-9EA8-2DDB139C89DB}" srcOrd="8" destOrd="0" presId="urn:microsoft.com/office/officeart/2005/8/layout/radial6"/>
    <dgm:cxn modelId="{B22D82C7-0E16-475C-99E3-B6C74BC66464}" type="presParOf" srcId="{90AF37ED-A056-46E5-B47B-BB5975519D3B}" destId="{AF33F275-C77C-41F8-BA24-A4B9E80A243C}" srcOrd="9" destOrd="0" presId="urn:microsoft.com/office/officeart/2005/8/layout/radial6"/>
  </dgm:cxnLst>
  <dgm:bg>
    <a:effectLst/>
  </dgm:bg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33F275-C77C-41F8-BA24-A4B9E80A243C}">
      <dsp:nvSpPr>
        <dsp:cNvPr id="0" name=""/>
        <dsp:cNvSpPr/>
      </dsp:nvSpPr>
      <dsp:spPr>
        <a:xfrm>
          <a:off x="2244020" y="1319579"/>
          <a:ext cx="6339416" cy="6339416"/>
        </a:xfrm>
        <a:prstGeom prst="blockArc">
          <a:avLst>
            <a:gd name="adj1" fmla="val 9426185"/>
            <a:gd name="adj2" fmla="val 16033038"/>
            <a:gd name="adj3" fmla="val 4641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tint val="6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z="-25400" prstMaterial="plastic">
          <a:bevelT w="25400" h="25400"/>
          <a:bevelB w="25400" h="254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78ADD2A-A85E-4F9A-BAFE-D03512A02E85}">
      <dsp:nvSpPr>
        <dsp:cNvPr id="0" name=""/>
        <dsp:cNvSpPr/>
      </dsp:nvSpPr>
      <dsp:spPr>
        <a:xfrm>
          <a:off x="2204745" y="914739"/>
          <a:ext cx="6076267" cy="6462210"/>
        </a:xfrm>
        <a:prstGeom prst="blockArc">
          <a:avLst>
            <a:gd name="adj1" fmla="val 1800000"/>
            <a:gd name="adj2" fmla="val 9000000"/>
            <a:gd name="adj3" fmla="val 4641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tint val="6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z="-25400" prstMaterial="plastic">
          <a:bevelT w="25400" h="25400"/>
          <a:bevelB w="25400" h="254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B5B307E-689B-4474-87D1-C6EBF68C98F5}">
      <dsp:nvSpPr>
        <dsp:cNvPr id="0" name=""/>
        <dsp:cNvSpPr/>
      </dsp:nvSpPr>
      <dsp:spPr>
        <a:xfrm>
          <a:off x="1903257" y="1317367"/>
          <a:ext cx="6339416" cy="6339416"/>
        </a:xfrm>
        <a:prstGeom prst="blockArc">
          <a:avLst>
            <a:gd name="adj1" fmla="val 16411595"/>
            <a:gd name="adj2" fmla="val 1376482"/>
            <a:gd name="adj3" fmla="val 4641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tint val="6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z="-25400" prstMaterial="plastic">
          <a:bevelT w="25400" h="25400"/>
          <a:bevelB w="25400" h="254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D484A2E-8BC7-4F6D-A1F4-D266924DE5CB}">
      <dsp:nvSpPr>
        <dsp:cNvPr id="0" name=""/>
        <dsp:cNvSpPr/>
      </dsp:nvSpPr>
      <dsp:spPr>
        <a:xfrm>
          <a:off x="3480435" y="2638726"/>
          <a:ext cx="3461353" cy="3014236"/>
        </a:xfrm>
        <a:prstGeom prst="ellipse">
          <a:avLst/>
        </a:prstGeom>
        <a:blipFill rotWithShape="0">
          <a:blip xmlns:r="http://schemas.openxmlformats.org/officeDocument/2006/relationships" r:embed="rId1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colorTemperature colorTemp="7200"/>
                    </a14:imgEffect>
                  </a14:imgLayer>
                </a14:imgProps>
              </a:ext>
            </a:extLst>
          </a:blip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 dirty="0"/>
        </a:p>
      </dsp:txBody>
      <dsp:txXfrm>
        <a:off x="3987338" y="3080151"/>
        <a:ext cx="2447547" cy="2131386"/>
      </dsp:txXfrm>
    </dsp:sp>
    <dsp:sp modelId="{556D21AF-D864-4F95-B8E6-13D0D8D287D6}">
      <dsp:nvSpPr>
        <dsp:cNvPr id="0" name=""/>
        <dsp:cNvSpPr/>
      </dsp:nvSpPr>
      <dsp:spPr>
        <a:xfrm>
          <a:off x="3280826" y="320918"/>
          <a:ext cx="3965178" cy="2151726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Грузовых перевозок</a:t>
          </a:r>
          <a:endParaRPr lang="ru-RU" sz="2400" b="1" kern="1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3861513" y="636031"/>
        <a:ext cx="2803804" cy="1521500"/>
      </dsp:txXfrm>
    </dsp:sp>
    <dsp:sp modelId="{24AD83FC-91FF-4236-A889-B16C838E992F}">
      <dsp:nvSpPr>
        <dsp:cNvPr id="0" name=""/>
        <dsp:cNvSpPr/>
      </dsp:nvSpPr>
      <dsp:spPr>
        <a:xfrm>
          <a:off x="5905202" y="4472121"/>
          <a:ext cx="4038055" cy="2443603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Международных и  </a:t>
          </a:r>
          <a:r>
            <a:rPr lang="ru-RU" sz="2000" b="1" kern="1200" dirty="0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мультимодальных</a:t>
          </a:r>
          <a:r>
            <a:rPr lang="ru-RU" sz="2000" b="1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перевозок</a:t>
          </a:r>
          <a:endParaRPr lang="ru-RU" sz="2000" b="1" kern="1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6496561" y="4829978"/>
        <a:ext cx="2855337" cy="1727889"/>
      </dsp:txXfrm>
    </dsp:sp>
    <dsp:sp modelId="{8A102336-B814-4917-81DE-EA9E79BEF3DB}">
      <dsp:nvSpPr>
        <dsp:cNvPr id="0" name=""/>
        <dsp:cNvSpPr/>
      </dsp:nvSpPr>
      <dsp:spPr>
        <a:xfrm>
          <a:off x="580533" y="4459719"/>
          <a:ext cx="3961990" cy="2468406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Организация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вооруженного сопровождения грузов по РФ и СНГ</a:t>
          </a:r>
          <a:endParaRPr lang="ru-RU" sz="2000" b="1" kern="1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1160753" y="4821209"/>
        <a:ext cx="2801550" cy="174542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6">
  <dgm:title val=""/>
  <dgm:desc val=""/>
  <dgm:catLst>
    <dgm:cat type="3D" pri="11600"/>
  </dgm:catLst>
  <dgm:scene3d>
    <a:camera prst="perspectiveRelaxedModerately" zoom="92000"/>
    <a:lightRig rig="balanced" dir="t">
      <a:rot lat="0" lon="0" rev="12700000"/>
    </a:lightRig>
  </dgm:scene3d>
  <dgm:styleLbl name="node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5400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54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5400" prstMaterial="plastic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75000" prstMaterial="plastic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2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3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4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fgAcc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0400" extrusionH="12700" prstMaterial="plastic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218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DAD1451C-0F51-413B-90D4-8DA31DA69D6D}" type="datetimeFigureOut">
              <a:rPr lang="ru-RU"/>
              <a:pPr>
                <a:defRPr/>
              </a:pPr>
              <a:t>22.03.2017</a:t>
            </a:fld>
            <a:endParaRPr lang="ru-RU" dirty="0"/>
          </a:p>
        </p:txBody>
      </p:sp>
      <p:sp>
        <p:nvSpPr>
          <p:cNvPr id="1218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218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040FA20A-107F-46FA-B75B-14A05608B70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83125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49775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49775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5F1D566-34C9-4E79-A406-C22525C4DCFF}" type="datetimeFigureOut">
              <a:rPr lang="ru-RU"/>
              <a:pPr>
                <a:defRPr/>
              </a:pPr>
              <a:t>22.03.2017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06475" y="685800"/>
            <a:ext cx="48450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x-none" noProof="0" smtClean="0"/>
              <a:t>Образец текста</a:t>
            </a:r>
          </a:p>
          <a:p>
            <a:pPr lvl="1"/>
            <a:r>
              <a:rPr lang="x-none" noProof="0" smtClean="0"/>
              <a:t>Второй уровень</a:t>
            </a:r>
          </a:p>
          <a:p>
            <a:pPr lvl="2"/>
            <a:r>
              <a:rPr lang="x-none" noProof="0" smtClean="0"/>
              <a:t>Третий уровень</a:t>
            </a:r>
          </a:p>
          <a:p>
            <a:pPr lvl="3"/>
            <a:r>
              <a:rPr lang="x-none" noProof="0" smtClean="0"/>
              <a:t>Четвертый уровень</a:t>
            </a:r>
          </a:p>
          <a:p>
            <a:pPr lvl="4"/>
            <a:r>
              <a:rPr lang="x-none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49775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49775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FC148AE-944E-43E5-A745-4D438020F83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334409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94929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4929" algn="l" defTabSz="494929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1439" algn="l" defTabSz="494929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86354" algn="l" defTabSz="494929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82863" algn="l" defTabSz="494929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78935" algn="l" defTabSz="49578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74725" algn="l" defTabSz="49578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70515" algn="l" defTabSz="49578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66302" algn="l" defTabSz="49578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06475" y="685800"/>
            <a:ext cx="484505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C148AE-944E-43E5-A745-4D438020F83E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07364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06475" y="685800"/>
            <a:ext cx="484505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C148AE-944E-43E5-A745-4D438020F83E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340708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648" y="672259"/>
            <a:ext cx="9085342" cy="4705773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9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3299" y="5462058"/>
            <a:ext cx="7482047" cy="1344507"/>
          </a:xfrm>
        </p:spPr>
        <p:txBody>
          <a:bodyPr>
            <a:normAutofit/>
          </a:bodyPr>
          <a:lstStyle>
            <a:lvl1pPr marL="0" indent="0" algn="ctr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520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10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16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2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2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3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3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6C5678-EE20-4FA5-88E2-6E0BD67A2E26}" type="datetime1">
              <a:rPr lang="en-US" smtClean="0"/>
              <a:t>3/22/2017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Footer Text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dir="r"/>
      </p:transition>
    </mc:Choice>
    <mc:Fallback xmlns="">
      <p:transition spd="slow" advTm="21276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804E042-55D7-4724-9F70-B7D059539253}" type="datetimeFigureOut">
              <a:rPr lang="ru-RU" smtClean="0"/>
              <a:pPr>
                <a:defRPr/>
              </a:pPr>
              <a:t>22.03.2017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3531E2C-813A-43AD-BBDD-9DBEC4583487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49262" y="302865"/>
            <a:ext cx="2404944" cy="645293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4434" y="302865"/>
            <a:ext cx="7036687" cy="645293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804E042-55D7-4724-9F70-B7D059539253}" type="datetimeFigureOut">
              <a:rPr lang="ru-RU" smtClean="0"/>
              <a:pPr>
                <a:defRPr/>
              </a:pPr>
              <a:t>22.03.2017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3531E2C-813A-43AD-BBDD-9DBEC4583487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x-none" smtClean="0"/>
              <a:t>Образец текста</a:t>
            </a:r>
          </a:p>
          <a:p>
            <a:pPr lvl="1"/>
            <a:r>
              <a:rPr lang="x-none" smtClean="0"/>
              <a:t>Второй уровень</a:t>
            </a:r>
          </a:p>
          <a:p>
            <a:pPr lvl="2"/>
            <a:r>
              <a:rPr lang="x-none" smtClean="0"/>
              <a:t>Третий уровень</a:t>
            </a:r>
          </a:p>
          <a:p>
            <a:pPr lvl="3"/>
            <a:r>
              <a:rPr lang="x-none" smtClean="0"/>
              <a:t>Четвертый уровень</a:t>
            </a:r>
          </a:p>
          <a:p>
            <a:pPr lvl="4"/>
            <a:r>
              <a:rPr lang="x-none" smtClean="0"/>
              <a:t>Пятый уровень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10077014" y="239600"/>
            <a:ext cx="417869" cy="203898"/>
          </a:xfrm>
          <a:prstGeom prst="rect">
            <a:avLst/>
          </a:prstGeom>
        </p:spPr>
        <p:txBody>
          <a:bodyPr wrap="square" lIns="79690" tIns="39847" rIns="79690" bIns="39847">
            <a:spAutoFit/>
          </a:bodyPr>
          <a:lstStyle/>
          <a:p>
            <a:pPr defTabSz="433798"/>
            <a:fld id="{E7251A69-DA18-A24F-A587-5B31931CE544}" type="slidenum">
              <a:rPr lang="ru-RU" sz="80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pPr defTabSz="433798"/>
              <a:t>‹#›</a:t>
            </a:fld>
            <a:endParaRPr lang="ru-RU" sz="800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76250" y="520454"/>
            <a:ext cx="6198243" cy="307001"/>
          </a:xfrm>
        </p:spPr>
        <p:txBody>
          <a:bodyPr>
            <a:normAutofit/>
          </a:bodyPr>
          <a:lstStyle>
            <a:lvl1pPr algn="l">
              <a:defRPr sz="1400" b="1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 smtClean="0"/>
              <a:t>Заголовок</a:t>
            </a:r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dir="r"/>
      </p:transition>
    </mc:Choice>
    <mc:Fallback xmlns="">
      <p:transition spd="slow" advTm="21276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648" y="672259"/>
            <a:ext cx="9085342" cy="4705773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9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3299" y="5462058"/>
            <a:ext cx="7482047" cy="1344507"/>
          </a:xfrm>
        </p:spPr>
        <p:txBody>
          <a:bodyPr>
            <a:normAutofit/>
          </a:bodyPr>
          <a:lstStyle>
            <a:lvl1pPr marL="0" indent="0" algn="ctr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520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10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16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2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2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3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3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6C5678-EE20-4FA5-88E2-6E0BD67A2E26}" type="datetime1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/22/2017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A9B540C-44DA-4F69-89C9-7C84606640D3}" type="slidenum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Footer Text</a:t>
            </a:r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7806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dir="r"/>
      </p:transition>
    </mc:Choice>
    <mc:Fallback xmlns="">
      <p:transition spd="slow" advTm="21276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1D738E-8962-435F-8C43-147B8DD7E819}" type="datetime1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/22/2017</a:t>
            </a:fld>
            <a:endParaRPr 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Footer Text</a:t>
            </a:r>
            <a:endParaRPr 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0077014" y="239600"/>
            <a:ext cx="417869" cy="203898"/>
          </a:xfrm>
          <a:prstGeom prst="rect">
            <a:avLst/>
          </a:prstGeom>
        </p:spPr>
        <p:txBody>
          <a:bodyPr wrap="square" lIns="79690" tIns="39847" rIns="79690" bIns="39847">
            <a:spAutoFit/>
          </a:bodyPr>
          <a:lstStyle/>
          <a:p>
            <a:pPr defTabSz="433798"/>
            <a:fld id="{E7251A69-DA18-A24F-A587-5B31931CE544}" type="slidenum">
              <a:rPr lang="ru-RU" sz="80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pPr defTabSz="433798"/>
              <a:t>‹#›</a:t>
            </a:fld>
            <a:endParaRPr lang="ru-RU" sz="800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3432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dir="r"/>
      </p:transition>
    </mc:Choice>
    <mc:Fallback xmlns="">
      <p:transition spd="slow" advTm="21276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329" y="1512586"/>
            <a:ext cx="9085342" cy="2762541"/>
          </a:xfrm>
        </p:spPr>
        <p:txBody>
          <a:bodyPr anchor="b"/>
          <a:lstStyle>
            <a:lvl1pPr algn="ctr" defTabSz="104106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55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329" y="4486944"/>
            <a:ext cx="9085342" cy="1248220"/>
          </a:xfrm>
        </p:spPr>
        <p:txBody>
          <a:bodyPr anchor="t"/>
          <a:lstStyle>
            <a:lvl1pPr marL="0" indent="0" algn="ctr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0532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106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16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213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26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32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437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642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1A45EAC-E61A-4C55-BAD9-BBE5BB61293D}" type="datetimeFigureOut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22.03.2017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26FBA59-4829-4FD8-9482-FF054198531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5255247" y="4327634"/>
            <a:ext cx="99092" cy="9348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108" tIns="52052" rIns="104108" bIns="52052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5489061" y="4327634"/>
            <a:ext cx="99092" cy="9348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108" tIns="52052" rIns="104108" bIns="52052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5022547" y="4327634"/>
            <a:ext cx="99092" cy="9348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108" tIns="52052" rIns="104108" bIns="52052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2152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dir="r"/>
      </p:transition>
    </mc:Choice>
    <mc:Fallback xmlns="">
      <p:transition spd="slow" advTm="21276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3391" y="1764681"/>
            <a:ext cx="4720815" cy="4991131"/>
          </a:xfrm>
        </p:spPr>
        <p:txBody>
          <a:bodyPr/>
          <a:lstStyle>
            <a:lvl1pPr>
              <a:defRPr sz="27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1BB6559-A698-4787-850B-CD2A64C51883}" type="datetimeFigureOut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22.03.2017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F74873-2667-48C2-AEF5-1AB8E6A7C03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27546" y="1764665"/>
            <a:ext cx="4724378" cy="499148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71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dir="r"/>
      </p:transition>
    </mc:Choice>
    <mc:Fallback xmlns="">
      <p:transition spd="slow" advTm="21276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764665"/>
            <a:ext cx="4722671" cy="672253"/>
          </a:xfrm>
        </p:spPr>
        <p:txBody>
          <a:bodyPr anchor="b">
            <a:noAutofit/>
          </a:bodyPr>
          <a:lstStyle>
            <a:lvl1pPr marL="0" indent="0" algn="ctr">
              <a:buNone/>
              <a:defRPr sz="2700" b="0"/>
            </a:lvl1pPr>
            <a:lvl2pPr marL="520532" indent="0">
              <a:buNone/>
              <a:defRPr sz="2300" b="1"/>
            </a:lvl2pPr>
            <a:lvl3pPr marL="1041069" indent="0">
              <a:buNone/>
              <a:defRPr sz="2100" b="1"/>
            </a:lvl3pPr>
            <a:lvl4pPr marL="1561603" indent="0">
              <a:buNone/>
              <a:defRPr sz="1800" b="1"/>
            </a:lvl4pPr>
            <a:lvl5pPr marL="2082139" indent="0">
              <a:buNone/>
              <a:defRPr sz="1800" b="1"/>
            </a:lvl5pPr>
            <a:lvl6pPr marL="2602672" indent="0">
              <a:buNone/>
              <a:defRPr sz="1800" b="1"/>
            </a:lvl6pPr>
            <a:lvl7pPr marL="3123209" indent="0">
              <a:buNone/>
              <a:defRPr sz="1800" b="1"/>
            </a:lvl7pPr>
            <a:lvl8pPr marL="3643744" indent="0">
              <a:buNone/>
              <a:defRPr sz="1800" b="1"/>
            </a:lvl8pPr>
            <a:lvl9pPr marL="4164279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33394" y="1764665"/>
            <a:ext cx="4724526" cy="672253"/>
          </a:xfrm>
        </p:spPr>
        <p:txBody>
          <a:bodyPr anchor="b">
            <a:noAutofit/>
          </a:bodyPr>
          <a:lstStyle>
            <a:lvl1pPr marL="0" indent="0" algn="ctr">
              <a:buNone/>
              <a:defRPr sz="2700" b="0"/>
            </a:lvl1pPr>
            <a:lvl2pPr marL="520532" indent="0">
              <a:buNone/>
              <a:defRPr sz="2300" b="1"/>
            </a:lvl2pPr>
            <a:lvl3pPr marL="1041069" indent="0">
              <a:buNone/>
              <a:defRPr sz="2100" b="1"/>
            </a:lvl3pPr>
            <a:lvl4pPr marL="1561603" indent="0">
              <a:buNone/>
              <a:defRPr sz="1800" b="1"/>
            </a:lvl4pPr>
            <a:lvl5pPr marL="2082139" indent="0">
              <a:buNone/>
              <a:defRPr sz="1800" b="1"/>
            </a:lvl5pPr>
            <a:lvl6pPr marL="2602672" indent="0">
              <a:buNone/>
              <a:defRPr sz="1800" b="1"/>
            </a:lvl6pPr>
            <a:lvl7pPr marL="3123209" indent="0">
              <a:buNone/>
              <a:defRPr sz="1800" b="1"/>
            </a:lvl7pPr>
            <a:lvl8pPr marL="3643744" indent="0">
              <a:buNone/>
              <a:defRPr sz="1800" b="1"/>
            </a:lvl8pPr>
            <a:lvl9pPr marL="4164279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FD031E4-E54B-4DAD-80EF-62E98338011B}" type="datetimeFigureOut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22.03.2017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770D066-1B83-493F-820B-7EEA5B64BEDA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534432" y="2440280"/>
            <a:ext cx="4724378" cy="43158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5461894" y="2440281"/>
            <a:ext cx="4724378" cy="431537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dir="r"/>
      </p:transition>
    </mc:Choice>
    <mc:Fallback xmlns="">
      <p:transition spd="slow" advTm="21276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A6A3130-4BDF-4969-87A4-0AAFFBD519F1}" type="datetimeFigureOut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22.03.2017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2754A1-4BAF-49FB-8199-4B5DF9382252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185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dir="r"/>
      </p:transition>
    </mc:Choice>
    <mc:Fallback xmlns="">
      <p:transition spd="slow" advTm="21276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804E042-55D7-4724-9F70-B7D059539253}" type="datetimeFigureOut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22.03.2017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3531E2C-813A-43AD-BBDD-9DBEC4583487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018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1D738E-8962-435F-8C43-147B8DD7E819}" type="datetime1">
              <a:rPr lang="en-US" smtClean="0"/>
              <a:t>3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ooter Tex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0077014" y="239600"/>
            <a:ext cx="417869" cy="203898"/>
          </a:xfrm>
          <a:prstGeom prst="rect">
            <a:avLst/>
          </a:prstGeom>
        </p:spPr>
        <p:txBody>
          <a:bodyPr wrap="square" lIns="79690" tIns="39847" rIns="79690" bIns="39847">
            <a:spAutoFit/>
          </a:bodyPr>
          <a:lstStyle/>
          <a:p>
            <a:pPr defTabSz="433798"/>
            <a:fld id="{E7251A69-DA18-A24F-A587-5B31931CE544}" type="slidenum">
              <a:rPr lang="ru-RU" sz="80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pPr defTabSz="433798"/>
              <a:t>‹#›</a:t>
            </a:fld>
            <a:endParaRPr lang="ru-RU" sz="800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dir="r"/>
      </p:transition>
    </mc:Choice>
    <mc:Fallback xmlns="">
      <p:transition spd="slow" advTm="21276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4938" y="294113"/>
            <a:ext cx="3516488" cy="2310871"/>
          </a:xfrm>
        </p:spPr>
        <p:txBody>
          <a:bodyPr anchor="b"/>
          <a:lstStyle>
            <a:lvl1pPr algn="ctr">
              <a:lnSpc>
                <a:spcPct val="100000"/>
              </a:lnSpc>
              <a:defRPr sz="32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0617" y="301129"/>
            <a:ext cx="5839782" cy="6454683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04938" y="2689029"/>
            <a:ext cx="3516488" cy="406678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800"/>
            </a:lvl1pPr>
            <a:lvl2pPr marL="520532" indent="0">
              <a:buNone/>
              <a:defRPr sz="1400"/>
            </a:lvl2pPr>
            <a:lvl3pPr marL="1041069" indent="0">
              <a:buNone/>
              <a:defRPr sz="1100"/>
            </a:lvl3pPr>
            <a:lvl4pPr marL="1561603" indent="0">
              <a:buNone/>
              <a:defRPr sz="1000"/>
            </a:lvl4pPr>
            <a:lvl5pPr marL="2082139" indent="0">
              <a:buNone/>
              <a:defRPr sz="1000"/>
            </a:lvl5pPr>
            <a:lvl6pPr marL="2602672" indent="0">
              <a:buNone/>
              <a:defRPr sz="1000"/>
            </a:lvl6pPr>
            <a:lvl7pPr marL="3123209" indent="0">
              <a:buNone/>
              <a:defRPr sz="1000"/>
            </a:lvl7pPr>
            <a:lvl8pPr marL="3643744" indent="0">
              <a:buNone/>
              <a:defRPr sz="1000"/>
            </a:lvl8pPr>
            <a:lvl9pPr marL="416427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84276F1-790C-4979-B18C-AB3CE6DFEAF3}" type="datetimeFigureOut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22.03.2017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2663FF9-933D-4ACF-8BD5-D24F81A905CE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147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dir="r"/>
      </p:transition>
    </mc:Choice>
    <mc:Fallback xmlns="">
      <p:transition spd="slow" advTm="21276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63296" y="252095"/>
            <a:ext cx="6676686" cy="987372"/>
          </a:xfrm>
        </p:spPr>
        <p:txBody>
          <a:bodyPr anchor="b"/>
          <a:lstStyle>
            <a:lvl1pPr algn="ctr">
              <a:lnSpc>
                <a:spcPct val="100000"/>
              </a:lnSpc>
              <a:defRPr sz="32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62884" y="1260475"/>
            <a:ext cx="7077510" cy="5007762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600"/>
            </a:lvl1pPr>
            <a:lvl2pPr marL="520532" indent="0">
              <a:buNone/>
              <a:defRPr sz="3200"/>
            </a:lvl2pPr>
            <a:lvl3pPr marL="1041069" indent="0">
              <a:buNone/>
              <a:defRPr sz="2700"/>
            </a:lvl3pPr>
            <a:lvl4pPr marL="1561603" indent="0">
              <a:buNone/>
              <a:defRPr sz="2300"/>
            </a:lvl4pPr>
            <a:lvl5pPr marL="2082139" indent="0">
              <a:buNone/>
              <a:defRPr sz="2300"/>
            </a:lvl5pPr>
            <a:lvl6pPr marL="2602672" indent="0">
              <a:buNone/>
              <a:defRPr sz="2300"/>
            </a:lvl6pPr>
            <a:lvl7pPr marL="3123209" indent="0">
              <a:buNone/>
              <a:defRPr sz="2300"/>
            </a:lvl7pPr>
            <a:lvl8pPr marL="3643744" indent="0">
              <a:buNone/>
              <a:defRPr sz="2300"/>
            </a:lvl8pPr>
            <a:lvl9pPr marL="4164279" indent="0">
              <a:buNone/>
              <a:defRPr sz="23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63296" y="6407414"/>
            <a:ext cx="6676686" cy="588222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520532" indent="0">
              <a:buNone/>
              <a:defRPr sz="1400"/>
            </a:lvl2pPr>
            <a:lvl3pPr marL="1041069" indent="0">
              <a:buNone/>
              <a:defRPr sz="1100"/>
            </a:lvl3pPr>
            <a:lvl4pPr marL="1561603" indent="0">
              <a:buNone/>
              <a:defRPr sz="1000"/>
            </a:lvl4pPr>
            <a:lvl5pPr marL="2082139" indent="0">
              <a:buNone/>
              <a:defRPr sz="1000"/>
            </a:lvl5pPr>
            <a:lvl6pPr marL="2602672" indent="0">
              <a:buNone/>
              <a:defRPr sz="1000"/>
            </a:lvl6pPr>
            <a:lvl7pPr marL="3123209" indent="0">
              <a:buNone/>
              <a:defRPr sz="1000"/>
            </a:lvl7pPr>
            <a:lvl8pPr marL="3643744" indent="0">
              <a:buNone/>
              <a:defRPr sz="1000"/>
            </a:lvl8pPr>
            <a:lvl9pPr marL="416427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47A477B-9FB2-4240-A557-C95A82C606D9}" type="datetimeFigureOut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22.03.2017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986F765-426B-4591-B2B6-9E4DABC0BCA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2361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dir="r"/>
      </p:transition>
    </mc:Choice>
    <mc:Fallback xmlns="">
      <p:transition spd="slow" advTm="21276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804E042-55D7-4724-9F70-B7D059539253}" type="datetimeFigureOut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22.03.2017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3531E2C-813A-43AD-BBDD-9DBEC4583487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794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49262" y="302865"/>
            <a:ext cx="2404944" cy="645293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4434" y="302865"/>
            <a:ext cx="7036687" cy="645293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804E042-55D7-4724-9F70-B7D059539253}" type="datetimeFigureOut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22.03.2017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3531E2C-813A-43AD-BBDD-9DBEC4583487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902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x-none" smtClean="0"/>
              <a:t>Образец текста</a:t>
            </a:r>
          </a:p>
          <a:p>
            <a:pPr lvl="1"/>
            <a:r>
              <a:rPr lang="x-none" smtClean="0"/>
              <a:t>Второй уровень</a:t>
            </a:r>
          </a:p>
          <a:p>
            <a:pPr lvl="2"/>
            <a:r>
              <a:rPr lang="x-none" smtClean="0"/>
              <a:t>Третий уровень</a:t>
            </a:r>
          </a:p>
          <a:p>
            <a:pPr lvl="3"/>
            <a:r>
              <a:rPr lang="x-none" smtClean="0"/>
              <a:t>Четвертый уровень</a:t>
            </a:r>
          </a:p>
          <a:p>
            <a:pPr lvl="4"/>
            <a:r>
              <a:rPr lang="x-none" smtClean="0"/>
              <a:t>Пятый уровень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10077014" y="239600"/>
            <a:ext cx="417869" cy="203898"/>
          </a:xfrm>
          <a:prstGeom prst="rect">
            <a:avLst/>
          </a:prstGeom>
        </p:spPr>
        <p:txBody>
          <a:bodyPr wrap="square" lIns="79690" tIns="39847" rIns="79690" bIns="39847">
            <a:spAutoFit/>
          </a:bodyPr>
          <a:lstStyle/>
          <a:p>
            <a:pPr defTabSz="433798"/>
            <a:fld id="{E7251A69-DA18-A24F-A587-5B31931CE544}" type="slidenum">
              <a:rPr lang="ru-RU" sz="80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pPr defTabSz="433798"/>
              <a:t>‹#›</a:t>
            </a:fld>
            <a:endParaRPr lang="ru-RU" sz="800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76250" y="520454"/>
            <a:ext cx="6198243" cy="307001"/>
          </a:xfrm>
        </p:spPr>
        <p:txBody>
          <a:bodyPr>
            <a:normAutofit/>
          </a:bodyPr>
          <a:lstStyle>
            <a:lvl1pPr algn="l">
              <a:defRPr sz="1400" b="1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38979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dir="r"/>
      </p:transition>
    </mc:Choice>
    <mc:Fallback xmlns="">
      <p:transition spd="slow" advTm="21276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3F149-83C4-4179-9681-702531CCFDAC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2.03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1E638-3F78-4E0D-883A-B278700C48C0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6482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dir="r"/>
      </p:transition>
    </mc:Choice>
    <mc:Fallback xmlns="">
      <p:transition spd="slow" advTm="21276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x-none" smtClean="0"/>
              <a:t>Образец текста</a:t>
            </a:r>
          </a:p>
          <a:p>
            <a:pPr lvl="1"/>
            <a:r>
              <a:rPr lang="x-none" smtClean="0"/>
              <a:t>Второй уровень</a:t>
            </a:r>
          </a:p>
          <a:p>
            <a:pPr lvl="2"/>
            <a:r>
              <a:rPr lang="x-none" smtClean="0"/>
              <a:t>Третий уровень</a:t>
            </a:r>
          </a:p>
          <a:p>
            <a:pPr lvl="3"/>
            <a:r>
              <a:rPr lang="x-none" smtClean="0"/>
              <a:t>Четвертый уровень</a:t>
            </a:r>
          </a:p>
          <a:p>
            <a:pPr lvl="4"/>
            <a:r>
              <a:rPr lang="x-none" smtClean="0"/>
              <a:t>Пятый уровень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10077014" y="239600"/>
            <a:ext cx="417869" cy="203898"/>
          </a:xfrm>
          <a:prstGeom prst="rect">
            <a:avLst/>
          </a:prstGeom>
        </p:spPr>
        <p:txBody>
          <a:bodyPr wrap="square" lIns="79877" tIns="39939" rIns="79877" bIns="39939">
            <a:spAutoFit/>
          </a:bodyPr>
          <a:lstStyle/>
          <a:p>
            <a:pPr defTabSz="434818"/>
            <a:fld id="{E7251A69-DA18-A24F-A587-5B31931CE544}" type="slidenum">
              <a:rPr lang="ru-RU" sz="80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pPr defTabSz="434818"/>
              <a:t>‹#›</a:t>
            </a:fld>
            <a:endParaRPr lang="ru-RU" sz="800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76250" y="520433"/>
            <a:ext cx="6198243" cy="307001"/>
          </a:xfrm>
        </p:spPr>
        <p:txBody>
          <a:bodyPr>
            <a:normAutofit/>
          </a:bodyPr>
          <a:lstStyle>
            <a:lvl1pPr algn="l">
              <a:defRPr sz="1400" b="1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7436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dir="r"/>
      </p:transition>
    </mc:Choice>
    <mc:Fallback xmlns="">
      <p:transition spd="slow" advTm="21276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329" y="1512586"/>
            <a:ext cx="9085342" cy="2762541"/>
          </a:xfrm>
        </p:spPr>
        <p:txBody>
          <a:bodyPr anchor="b"/>
          <a:lstStyle>
            <a:lvl1pPr algn="ctr" defTabSz="104106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55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329" y="4486944"/>
            <a:ext cx="9085342" cy="1248220"/>
          </a:xfrm>
        </p:spPr>
        <p:txBody>
          <a:bodyPr anchor="t"/>
          <a:lstStyle>
            <a:lvl1pPr marL="0" indent="0" algn="ctr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0532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106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16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213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26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32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437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642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1A45EAC-E61A-4C55-BAD9-BBE5BB61293D}" type="datetimeFigureOut">
              <a:rPr lang="ru-RU" smtClean="0"/>
              <a:pPr>
                <a:defRPr/>
              </a:pPr>
              <a:t>22.03.2017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26FBA59-4829-4FD8-9482-FF054198531B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7" name="Oval 6"/>
          <p:cNvSpPr/>
          <p:nvPr/>
        </p:nvSpPr>
        <p:spPr>
          <a:xfrm>
            <a:off x="5255247" y="4327634"/>
            <a:ext cx="99092" cy="9348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108" tIns="52052" rIns="104108" bIns="52052"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5489061" y="4327634"/>
            <a:ext cx="99092" cy="9348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108" tIns="52052" rIns="104108" bIns="52052"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5022547" y="4327634"/>
            <a:ext cx="99092" cy="9348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108" tIns="52052" rIns="104108" bIns="52052"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dir="r"/>
      </p:transition>
    </mc:Choice>
    <mc:Fallback xmlns="">
      <p:transition spd="slow" advTm="21276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3391" y="1764681"/>
            <a:ext cx="4720815" cy="4991131"/>
          </a:xfrm>
        </p:spPr>
        <p:txBody>
          <a:bodyPr/>
          <a:lstStyle>
            <a:lvl1pPr>
              <a:defRPr sz="27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1BB6559-A698-4787-850B-CD2A64C51883}" type="datetimeFigureOut">
              <a:rPr lang="ru-RU" smtClean="0"/>
              <a:pPr>
                <a:defRPr/>
              </a:pPr>
              <a:t>22.03.2017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F74873-2667-48C2-AEF5-1AB8E6A7C030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27546" y="1764665"/>
            <a:ext cx="4724378" cy="499148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dir="r"/>
      </p:transition>
    </mc:Choice>
    <mc:Fallback xmlns="">
      <p:transition spd="slow" advTm="21276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764665"/>
            <a:ext cx="4722671" cy="672253"/>
          </a:xfrm>
        </p:spPr>
        <p:txBody>
          <a:bodyPr anchor="b">
            <a:noAutofit/>
          </a:bodyPr>
          <a:lstStyle>
            <a:lvl1pPr marL="0" indent="0" algn="ctr">
              <a:buNone/>
              <a:defRPr sz="2700" b="0"/>
            </a:lvl1pPr>
            <a:lvl2pPr marL="520532" indent="0">
              <a:buNone/>
              <a:defRPr sz="2300" b="1"/>
            </a:lvl2pPr>
            <a:lvl3pPr marL="1041069" indent="0">
              <a:buNone/>
              <a:defRPr sz="2100" b="1"/>
            </a:lvl3pPr>
            <a:lvl4pPr marL="1561603" indent="0">
              <a:buNone/>
              <a:defRPr sz="1800" b="1"/>
            </a:lvl4pPr>
            <a:lvl5pPr marL="2082139" indent="0">
              <a:buNone/>
              <a:defRPr sz="1800" b="1"/>
            </a:lvl5pPr>
            <a:lvl6pPr marL="2602672" indent="0">
              <a:buNone/>
              <a:defRPr sz="1800" b="1"/>
            </a:lvl6pPr>
            <a:lvl7pPr marL="3123209" indent="0">
              <a:buNone/>
              <a:defRPr sz="1800" b="1"/>
            </a:lvl7pPr>
            <a:lvl8pPr marL="3643744" indent="0">
              <a:buNone/>
              <a:defRPr sz="1800" b="1"/>
            </a:lvl8pPr>
            <a:lvl9pPr marL="4164279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33394" y="1764665"/>
            <a:ext cx="4724526" cy="672253"/>
          </a:xfrm>
        </p:spPr>
        <p:txBody>
          <a:bodyPr anchor="b">
            <a:noAutofit/>
          </a:bodyPr>
          <a:lstStyle>
            <a:lvl1pPr marL="0" indent="0" algn="ctr">
              <a:buNone/>
              <a:defRPr sz="2700" b="0"/>
            </a:lvl1pPr>
            <a:lvl2pPr marL="520532" indent="0">
              <a:buNone/>
              <a:defRPr sz="2300" b="1"/>
            </a:lvl2pPr>
            <a:lvl3pPr marL="1041069" indent="0">
              <a:buNone/>
              <a:defRPr sz="2100" b="1"/>
            </a:lvl3pPr>
            <a:lvl4pPr marL="1561603" indent="0">
              <a:buNone/>
              <a:defRPr sz="1800" b="1"/>
            </a:lvl4pPr>
            <a:lvl5pPr marL="2082139" indent="0">
              <a:buNone/>
              <a:defRPr sz="1800" b="1"/>
            </a:lvl5pPr>
            <a:lvl6pPr marL="2602672" indent="0">
              <a:buNone/>
              <a:defRPr sz="1800" b="1"/>
            </a:lvl6pPr>
            <a:lvl7pPr marL="3123209" indent="0">
              <a:buNone/>
              <a:defRPr sz="1800" b="1"/>
            </a:lvl7pPr>
            <a:lvl8pPr marL="3643744" indent="0">
              <a:buNone/>
              <a:defRPr sz="1800" b="1"/>
            </a:lvl8pPr>
            <a:lvl9pPr marL="4164279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FD031E4-E54B-4DAD-80EF-62E98338011B}" type="datetimeFigureOut">
              <a:rPr lang="ru-RU" smtClean="0"/>
              <a:pPr>
                <a:defRPr/>
              </a:pPr>
              <a:t>22.03.2017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770D066-1B83-493F-820B-7EEA5B64BED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534432" y="2440280"/>
            <a:ext cx="4724378" cy="43158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5461894" y="2440281"/>
            <a:ext cx="4724378" cy="431537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dir="r"/>
      </p:transition>
    </mc:Choice>
    <mc:Fallback xmlns="">
      <p:transition spd="slow" advTm="21276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A6A3130-4BDF-4969-87A4-0AAFFBD519F1}" type="datetimeFigureOut">
              <a:rPr lang="ru-RU" smtClean="0"/>
              <a:pPr>
                <a:defRPr/>
              </a:pPr>
              <a:t>22.03.2017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2754A1-4BAF-49FB-8199-4B5DF938225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dir="r"/>
      </p:transition>
    </mc:Choice>
    <mc:Fallback xmlns="">
      <p:transition spd="slow" advTm="21276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804E042-55D7-4724-9F70-B7D059539253}" type="datetimeFigureOut">
              <a:rPr lang="ru-RU" smtClean="0"/>
              <a:pPr>
                <a:defRPr/>
              </a:pPr>
              <a:t>22.03.2017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3531E2C-813A-43AD-BBDD-9DBEC4583487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4938" y="294113"/>
            <a:ext cx="3516488" cy="2310871"/>
          </a:xfrm>
        </p:spPr>
        <p:txBody>
          <a:bodyPr anchor="b"/>
          <a:lstStyle>
            <a:lvl1pPr algn="ctr">
              <a:lnSpc>
                <a:spcPct val="100000"/>
              </a:lnSpc>
              <a:defRPr sz="32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0617" y="301129"/>
            <a:ext cx="5839782" cy="6454683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04938" y="2689029"/>
            <a:ext cx="3516488" cy="406678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800"/>
            </a:lvl1pPr>
            <a:lvl2pPr marL="520532" indent="0">
              <a:buNone/>
              <a:defRPr sz="1400"/>
            </a:lvl2pPr>
            <a:lvl3pPr marL="1041069" indent="0">
              <a:buNone/>
              <a:defRPr sz="1100"/>
            </a:lvl3pPr>
            <a:lvl4pPr marL="1561603" indent="0">
              <a:buNone/>
              <a:defRPr sz="1000"/>
            </a:lvl4pPr>
            <a:lvl5pPr marL="2082139" indent="0">
              <a:buNone/>
              <a:defRPr sz="1000"/>
            </a:lvl5pPr>
            <a:lvl6pPr marL="2602672" indent="0">
              <a:buNone/>
              <a:defRPr sz="1000"/>
            </a:lvl6pPr>
            <a:lvl7pPr marL="3123209" indent="0">
              <a:buNone/>
              <a:defRPr sz="1000"/>
            </a:lvl7pPr>
            <a:lvl8pPr marL="3643744" indent="0">
              <a:buNone/>
              <a:defRPr sz="1000"/>
            </a:lvl8pPr>
            <a:lvl9pPr marL="416427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84276F1-790C-4979-B18C-AB3CE6DFEAF3}" type="datetimeFigureOut">
              <a:rPr lang="ru-RU" smtClean="0"/>
              <a:pPr>
                <a:defRPr/>
              </a:pPr>
              <a:t>22.03.2017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2663FF9-933D-4ACF-8BD5-D24F81A905CE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dir="r"/>
      </p:transition>
    </mc:Choice>
    <mc:Fallback xmlns="">
      <p:transition spd="slow" advTm="21276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63296" y="252095"/>
            <a:ext cx="6676686" cy="987372"/>
          </a:xfrm>
        </p:spPr>
        <p:txBody>
          <a:bodyPr anchor="b"/>
          <a:lstStyle>
            <a:lvl1pPr algn="ctr">
              <a:lnSpc>
                <a:spcPct val="100000"/>
              </a:lnSpc>
              <a:defRPr sz="32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62884" y="1260475"/>
            <a:ext cx="7077510" cy="5007762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600"/>
            </a:lvl1pPr>
            <a:lvl2pPr marL="520532" indent="0">
              <a:buNone/>
              <a:defRPr sz="3200"/>
            </a:lvl2pPr>
            <a:lvl3pPr marL="1041069" indent="0">
              <a:buNone/>
              <a:defRPr sz="2700"/>
            </a:lvl3pPr>
            <a:lvl4pPr marL="1561603" indent="0">
              <a:buNone/>
              <a:defRPr sz="2300"/>
            </a:lvl4pPr>
            <a:lvl5pPr marL="2082139" indent="0">
              <a:buNone/>
              <a:defRPr sz="2300"/>
            </a:lvl5pPr>
            <a:lvl6pPr marL="2602672" indent="0">
              <a:buNone/>
              <a:defRPr sz="2300"/>
            </a:lvl6pPr>
            <a:lvl7pPr marL="3123209" indent="0">
              <a:buNone/>
              <a:defRPr sz="2300"/>
            </a:lvl7pPr>
            <a:lvl8pPr marL="3643744" indent="0">
              <a:buNone/>
              <a:defRPr sz="2300"/>
            </a:lvl8pPr>
            <a:lvl9pPr marL="4164279" indent="0">
              <a:buNone/>
              <a:defRPr sz="23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63296" y="6407414"/>
            <a:ext cx="6676686" cy="588222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520532" indent="0">
              <a:buNone/>
              <a:defRPr sz="1400"/>
            </a:lvl2pPr>
            <a:lvl3pPr marL="1041069" indent="0">
              <a:buNone/>
              <a:defRPr sz="1100"/>
            </a:lvl3pPr>
            <a:lvl4pPr marL="1561603" indent="0">
              <a:buNone/>
              <a:defRPr sz="1000"/>
            </a:lvl4pPr>
            <a:lvl5pPr marL="2082139" indent="0">
              <a:buNone/>
              <a:defRPr sz="1000"/>
            </a:lvl5pPr>
            <a:lvl6pPr marL="2602672" indent="0">
              <a:buNone/>
              <a:defRPr sz="1000"/>
            </a:lvl6pPr>
            <a:lvl7pPr marL="3123209" indent="0">
              <a:buNone/>
              <a:defRPr sz="1000"/>
            </a:lvl7pPr>
            <a:lvl8pPr marL="3643744" indent="0">
              <a:buNone/>
              <a:defRPr sz="1000"/>
            </a:lvl8pPr>
            <a:lvl9pPr marL="416427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47A477B-9FB2-4240-A557-C95A82C606D9}" type="datetimeFigureOut">
              <a:rPr lang="ru-RU" smtClean="0"/>
              <a:pPr>
                <a:defRPr/>
              </a:pPr>
              <a:t>22.03.2017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986F765-426B-4591-B2B6-9E4DABC0BCAB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dir="r"/>
      </p:transition>
    </mc:Choice>
    <mc:Fallback xmlns="">
      <p:transition spd="slow" advTm="21276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432" y="0"/>
            <a:ext cx="9619774" cy="1764665"/>
          </a:xfrm>
          <a:prstGeom prst="rect">
            <a:avLst/>
          </a:prstGeom>
        </p:spPr>
        <p:txBody>
          <a:bodyPr vert="horz" lIns="104108" tIns="52052" rIns="104108" bIns="52052" rtlCol="0" anchor="b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764681"/>
            <a:ext cx="9619774" cy="4991131"/>
          </a:xfrm>
          <a:prstGeom prst="rect">
            <a:avLst/>
          </a:prstGeom>
        </p:spPr>
        <p:txBody>
          <a:bodyPr vert="horz" lIns="104108" tIns="52052" rIns="104108" bIns="52052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38267" y="7009643"/>
            <a:ext cx="2438346" cy="402652"/>
          </a:xfrm>
          <a:prstGeom prst="rect">
            <a:avLst/>
          </a:prstGeom>
        </p:spPr>
        <p:txBody>
          <a:bodyPr vert="horz" lIns="104108" tIns="52052" rIns="52052" bIns="52052" rtlCol="0" anchor="ctr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2804E042-55D7-4724-9F70-B7D059539253}" type="datetimeFigureOut">
              <a:rPr lang="ru-RU" smtClean="0"/>
              <a:pPr>
                <a:defRPr/>
              </a:pPr>
              <a:t>22.03.2017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70531" y="7009643"/>
            <a:ext cx="3329065" cy="402652"/>
          </a:xfrm>
          <a:prstGeom prst="rect">
            <a:avLst/>
          </a:prstGeom>
        </p:spPr>
        <p:txBody>
          <a:bodyPr vert="horz" lIns="52052" tIns="52052" rIns="104108" bIns="52052" rtlCol="0" anchor="ctr"/>
          <a:lstStyle>
            <a:lvl1pPr algn="l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86440" y="7009643"/>
            <a:ext cx="656906" cy="402652"/>
          </a:xfrm>
          <a:prstGeom prst="rect">
            <a:avLst/>
          </a:prstGeom>
        </p:spPr>
        <p:txBody>
          <a:bodyPr vert="horz" lIns="31230" tIns="52052" rIns="52052" bIns="52052" rtlCol="0" anchor="ctr"/>
          <a:lstStyle>
            <a:lvl1pPr algn="l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F3531E2C-813A-43AD-BBDD-9DBEC4583487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7" name="Oval 6"/>
          <p:cNvSpPr/>
          <p:nvPr/>
        </p:nvSpPr>
        <p:spPr>
          <a:xfrm>
            <a:off x="9886476" y="7167376"/>
            <a:ext cx="99092" cy="9348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108" tIns="52052" rIns="104108" bIns="52052" rtlCol="0" anchor="ctr"/>
          <a:lstStyle/>
          <a:p>
            <a:pPr marL="0" algn="ctr" defTabSz="1041069" rtl="0" eaLnBrk="1" latinLnBrk="0" hangingPunct="1"/>
            <a:endParaRPr lang="en-US" sz="21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665257" y="7167376"/>
            <a:ext cx="99092" cy="9348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108" tIns="52052" rIns="104108" bIns="52052"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40" r:id="rId12"/>
  </p:sldLayoutIdLst>
  <mc:AlternateContent xmlns:mc="http://schemas.openxmlformats.org/markup-compatibility/2006" xmlns:p14="http://schemas.microsoft.com/office/powerpoint/2010/main">
    <mc:Choice Requires="p14">
      <p:transition spd="slow">
        <p14:reveal dir="r"/>
      </p:transition>
    </mc:Choice>
    <mc:Fallback xmlns="">
      <p:transition spd="slow" advTm="21276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ctr" defTabSz="1041069" rtl="0" eaLnBrk="1" latinLnBrk="0" hangingPunct="1">
        <a:lnSpc>
          <a:spcPts val="6613"/>
        </a:lnSpc>
        <a:spcBef>
          <a:spcPct val="0"/>
        </a:spcBef>
        <a:buNone/>
        <a:defRPr sz="62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90394" indent="-390394" algn="l" defTabSz="1041069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845869" indent="-325333" algn="l" defTabSz="1041069" rtl="0" eaLnBrk="1" latinLnBrk="0" hangingPunct="1">
        <a:spcBef>
          <a:spcPct val="20000"/>
        </a:spcBef>
        <a:buFont typeface="Courier New" pitchFamily="49" charset="0"/>
        <a:buChar char="o"/>
        <a:defRPr sz="18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301337" indent="-260264" algn="l" defTabSz="1041069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821871" indent="-260264" algn="l" defTabSz="1041069" rtl="0" eaLnBrk="1" latinLnBrk="0" hangingPunct="1">
        <a:spcBef>
          <a:spcPct val="20000"/>
        </a:spcBef>
        <a:buFont typeface="Courier New" pitchFamily="49" charset="0"/>
        <a:buChar char="o"/>
        <a:defRPr sz="18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342407" indent="-260264" algn="l" defTabSz="1041069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862940" indent="-260264" algn="l" defTabSz="1041069" rtl="0" eaLnBrk="1" latinLnBrk="0" hangingPunct="1">
        <a:spcBef>
          <a:spcPct val="20000"/>
        </a:spcBef>
        <a:buFont typeface="Courier New" pitchFamily="49" charset="0"/>
        <a:buChar char="o"/>
        <a:defRPr sz="18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3383476" indent="-260264" algn="l" defTabSz="1041069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904010" indent="-260264" algn="l" defTabSz="1041069" rtl="0" eaLnBrk="1" latinLnBrk="0" hangingPunct="1">
        <a:spcBef>
          <a:spcPct val="20000"/>
        </a:spcBef>
        <a:buFont typeface="Courier New" pitchFamily="49" charset="0"/>
        <a:buChar char="o"/>
        <a:defRPr sz="18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4424546" indent="-260264" algn="l" defTabSz="1041069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10410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0532" algn="l" defTabSz="10410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1069" algn="l" defTabSz="10410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1603" algn="l" defTabSz="10410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2139" algn="l" defTabSz="10410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2672" algn="l" defTabSz="10410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3209" algn="l" defTabSz="10410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3744" algn="l" defTabSz="10410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4279" algn="l" defTabSz="10410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432" y="0"/>
            <a:ext cx="9619774" cy="1764665"/>
          </a:xfrm>
          <a:prstGeom prst="rect">
            <a:avLst/>
          </a:prstGeom>
        </p:spPr>
        <p:txBody>
          <a:bodyPr vert="horz" lIns="104108" tIns="52052" rIns="104108" bIns="52052" rtlCol="0" anchor="b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764681"/>
            <a:ext cx="9619774" cy="4991131"/>
          </a:xfrm>
          <a:prstGeom prst="rect">
            <a:avLst/>
          </a:prstGeom>
        </p:spPr>
        <p:txBody>
          <a:bodyPr vert="horz" lIns="104108" tIns="52052" rIns="104108" bIns="52052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38267" y="7009643"/>
            <a:ext cx="2438346" cy="402652"/>
          </a:xfrm>
          <a:prstGeom prst="rect">
            <a:avLst/>
          </a:prstGeom>
        </p:spPr>
        <p:txBody>
          <a:bodyPr vert="horz" lIns="104108" tIns="52052" rIns="52052" bIns="52052" rtlCol="0" anchor="ctr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2804E042-55D7-4724-9F70-B7D059539253}" type="datetimeFigureOut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22.03.2017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70531" y="7009643"/>
            <a:ext cx="3329065" cy="402652"/>
          </a:xfrm>
          <a:prstGeom prst="rect">
            <a:avLst/>
          </a:prstGeom>
        </p:spPr>
        <p:txBody>
          <a:bodyPr vert="horz" lIns="52052" tIns="52052" rIns="104108" bIns="52052" rtlCol="0" anchor="ctr"/>
          <a:lstStyle>
            <a:lvl1pPr algn="l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86440" y="7009643"/>
            <a:ext cx="656906" cy="402652"/>
          </a:xfrm>
          <a:prstGeom prst="rect">
            <a:avLst/>
          </a:prstGeom>
        </p:spPr>
        <p:txBody>
          <a:bodyPr vert="horz" lIns="31230" tIns="52052" rIns="52052" bIns="52052" rtlCol="0" anchor="ctr"/>
          <a:lstStyle>
            <a:lvl1pPr algn="l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F3531E2C-813A-43AD-BBDD-9DBEC4583487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9886476" y="7167376"/>
            <a:ext cx="99092" cy="9348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108" tIns="52052" rIns="104108" bIns="52052" rtlCol="0" anchor="ctr"/>
          <a:lstStyle/>
          <a:p>
            <a:pPr algn="ctr" defTabSz="1041069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665257" y="7167376"/>
            <a:ext cx="99092" cy="9348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108" tIns="52052" rIns="104108" bIns="52052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4667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  <p:sldLayoutId id="2147483790" r:id="rId12"/>
    <p:sldLayoutId id="2147483793" r:id="rId13"/>
    <p:sldLayoutId id="2147483810" r:id="rId14"/>
  </p:sldLayoutIdLst>
  <mc:AlternateContent xmlns:mc="http://schemas.openxmlformats.org/markup-compatibility/2006" xmlns:p14="http://schemas.microsoft.com/office/powerpoint/2010/main">
    <mc:Choice Requires="p14">
      <p:transition spd="slow">
        <p14:reveal dir="r"/>
      </p:transition>
    </mc:Choice>
    <mc:Fallback xmlns="">
      <p:transition spd="slow" advTm="21276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ctr" defTabSz="1041069" rtl="0" eaLnBrk="1" latinLnBrk="0" hangingPunct="1">
        <a:lnSpc>
          <a:spcPts val="6613"/>
        </a:lnSpc>
        <a:spcBef>
          <a:spcPct val="0"/>
        </a:spcBef>
        <a:buNone/>
        <a:defRPr sz="62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90394" indent="-390394" algn="l" defTabSz="1041069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845869" indent="-325333" algn="l" defTabSz="1041069" rtl="0" eaLnBrk="1" latinLnBrk="0" hangingPunct="1">
        <a:spcBef>
          <a:spcPct val="20000"/>
        </a:spcBef>
        <a:buFont typeface="Courier New" pitchFamily="49" charset="0"/>
        <a:buChar char="o"/>
        <a:defRPr sz="18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301337" indent="-260264" algn="l" defTabSz="1041069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821871" indent="-260264" algn="l" defTabSz="1041069" rtl="0" eaLnBrk="1" latinLnBrk="0" hangingPunct="1">
        <a:spcBef>
          <a:spcPct val="20000"/>
        </a:spcBef>
        <a:buFont typeface="Courier New" pitchFamily="49" charset="0"/>
        <a:buChar char="o"/>
        <a:defRPr sz="18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342407" indent="-260264" algn="l" defTabSz="1041069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862940" indent="-260264" algn="l" defTabSz="1041069" rtl="0" eaLnBrk="1" latinLnBrk="0" hangingPunct="1">
        <a:spcBef>
          <a:spcPct val="20000"/>
        </a:spcBef>
        <a:buFont typeface="Courier New" pitchFamily="49" charset="0"/>
        <a:buChar char="o"/>
        <a:defRPr sz="18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3383476" indent="-260264" algn="l" defTabSz="1041069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904010" indent="-260264" algn="l" defTabSz="1041069" rtl="0" eaLnBrk="1" latinLnBrk="0" hangingPunct="1">
        <a:spcBef>
          <a:spcPct val="20000"/>
        </a:spcBef>
        <a:buFont typeface="Courier New" pitchFamily="49" charset="0"/>
        <a:buChar char="o"/>
        <a:defRPr sz="18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4424546" indent="-260264" algn="l" defTabSz="1041069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10410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0532" algn="l" defTabSz="10410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1069" algn="l" defTabSz="10410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1603" algn="l" defTabSz="10410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2139" algn="l" defTabSz="10410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2672" algn="l" defTabSz="10410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3209" algn="l" defTabSz="10410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3744" algn="l" defTabSz="10410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4279" algn="l" defTabSz="10410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image" Target="../media/image59.jpg"/><Relationship Id="rId3" Type="http://schemas.openxmlformats.org/officeDocument/2006/relationships/tags" Target="../tags/tag34.xml"/><Relationship Id="rId7" Type="http://schemas.openxmlformats.org/officeDocument/2006/relationships/oleObject" Target="../embeddings/oleObject7.bin"/><Relationship Id="rId12" Type="http://schemas.openxmlformats.org/officeDocument/2006/relationships/image" Target="../media/image58.png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6" Type="http://schemas.openxmlformats.org/officeDocument/2006/relationships/slideLayout" Target="../slideLayouts/slideLayout19.xml"/><Relationship Id="rId11" Type="http://schemas.openxmlformats.org/officeDocument/2006/relationships/image" Target="../media/image57.png"/><Relationship Id="rId5" Type="http://schemas.openxmlformats.org/officeDocument/2006/relationships/tags" Target="../tags/tag36.xml"/><Relationship Id="rId15" Type="http://schemas.openxmlformats.org/officeDocument/2006/relationships/image" Target="../media/image61.png"/><Relationship Id="rId10" Type="http://schemas.openxmlformats.org/officeDocument/2006/relationships/image" Target="../media/image56.png"/><Relationship Id="rId4" Type="http://schemas.openxmlformats.org/officeDocument/2006/relationships/tags" Target="../tags/tag35.xml"/><Relationship Id="rId9" Type="http://schemas.openxmlformats.org/officeDocument/2006/relationships/image" Target="../media/image5.png"/><Relationship Id="rId14" Type="http://schemas.openxmlformats.org/officeDocument/2006/relationships/image" Target="../media/image6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13" Type="http://schemas.openxmlformats.org/officeDocument/2006/relationships/diagramQuickStyle" Target="../diagrams/quickStyle1.xml"/><Relationship Id="rId3" Type="http://schemas.openxmlformats.org/officeDocument/2006/relationships/tags" Target="../tags/tag38.xml"/><Relationship Id="rId7" Type="http://schemas.openxmlformats.org/officeDocument/2006/relationships/notesSlide" Target="../notesSlides/notesSlide2.xml"/><Relationship Id="rId12" Type="http://schemas.openxmlformats.org/officeDocument/2006/relationships/diagramLayout" Target="../diagrams/layout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19.xml"/><Relationship Id="rId11" Type="http://schemas.openxmlformats.org/officeDocument/2006/relationships/diagramData" Target="../diagrams/data1.xml"/><Relationship Id="rId5" Type="http://schemas.openxmlformats.org/officeDocument/2006/relationships/tags" Target="../tags/tag40.xml"/><Relationship Id="rId15" Type="http://schemas.microsoft.com/office/2007/relationships/diagramDrawing" Target="../diagrams/drawing1.xml"/><Relationship Id="rId10" Type="http://schemas.openxmlformats.org/officeDocument/2006/relationships/image" Target="../media/image5.png"/><Relationship Id="rId4" Type="http://schemas.openxmlformats.org/officeDocument/2006/relationships/tags" Target="../tags/tag39.xml"/><Relationship Id="rId9" Type="http://schemas.openxmlformats.org/officeDocument/2006/relationships/image" Target="../media/image3.emf"/><Relationship Id="rId14" Type="http://schemas.openxmlformats.org/officeDocument/2006/relationships/diagramColors" Target="../diagrams/colors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2.xml"/><Relationship Id="rId7" Type="http://schemas.openxmlformats.org/officeDocument/2006/relationships/oleObject" Target="../embeddings/oleObject9.bin"/><Relationship Id="rId2" Type="http://schemas.openxmlformats.org/officeDocument/2006/relationships/tags" Target="../tags/tag41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44.xml"/><Relationship Id="rId10" Type="http://schemas.openxmlformats.org/officeDocument/2006/relationships/image" Target="../media/image63.png"/><Relationship Id="rId4" Type="http://schemas.openxmlformats.org/officeDocument/2006/relationships/tags" Target="../tags/tag43.xml"/><Relationship Id="rId9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image" Target="../media/image66.png"/><Relationship Id="rId3" Type="http://schemas.openxmlformats.org/officeDocument/2006/relationships/tags" Target="../tags/tag46.xml"/><Relationship Id="rId7" Type="http://schemas.openxmlformats.org/officeDocument/2006/relationships/oleObject" Target="../embeddings/oleObject10.bin"/><Relationship Id="rId12" Type="http://schemas.openxmlformats.org/officeDocument/2006/relationships/image" Target="../media/image65.png"/><Relationship Id="rId2" Type="http://schemas.openxmlformats.org/officeDocument/2006/relationships/tags" Target="../tags/tag45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19.xml"/><Relationship Id="rId11" Type="http://schemas.openxmlformats.org/officeDocument/2006/relationships/image" Target="../media/image47.png"/><Relationship Id="rId5" Type="http://schemas.openxmlformats.org/officeDocument/2006/relationships/tags" Target="../tags/tag48.xml"/><Relationship Id="rId10" Type="http://schemas.openxmlformats.org/officeDocument/2006/relationships/image" Target="../media/image64.png"/><Relationship Id="rId4" Type="http://schemas.openxmlformats.org/officeDocument/2006/relationships/tags" Target="../tags/tag47.xml"/><Relationship Id="rId9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4.png"/><Relationship Id="rId2" Type="http://schemas.openxmlformats.org/officeDocument/2006/relationships/tags" Target="../tags/tag4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7.pn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image" Target="../media/image5.png"/><Relationship Id="rId5" Type="http://schemas.openxmlformats.org/officeDocument/2006/relationships/tags" Target="../tags/tag7.xml"/><Relationship Id="rId10" Type="http://schemas.openxmlformats.org/officeDocument/2006/relationships/image" Target="../media/image3.emf"/><Relationship Id="rId4" Type="http://schemas.openxmlformats.org/officeDocument/2006/relationships/tags" Target="../tags/tag6.xml"/><Relationship Id="rId9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3.emf"/><Relationship Id="rId18" Type="http://schemas.openxmlformats.org/officeDocument/2006/relationships/image" Target="../media/image12.png"/><Relationship Id="rId26" Type="http://schemas.openxmlformats.org/officeDocument/2006/relationships/image" Target="../media/image20.png"/><Relationship Id="rId3" Type="http://schemas.openxmlformats.org/officeDocument/2006/relationships/tags" Target="../tags/tag11.xml"/><Relationship Id="rId21" Type="http://schemas.openxmlformats.org/officeDocument/2006/relationships/image" Target="../media/image15.png"/><Relationship Id="rId7" Type="http://schemas.openxmlformats.org/officeDocument/2006/relationships/tags" Target="../tags/tag15.xml"/><Relationship Id="rId12" Type="http://schemas.openxmlformats.org/officeDocument/2006/relationships/oleObject" Target="../embeddings/oleObject3.bin"/><Relationship Id="rId17" Type="http://schemas.openxmlformats.org/officeDocument/2006/relationships/image" Target="../media/image11.png"/><Relationship Id="rId25" Type="http://schemas.openxmlformats.org/officeDocument/2006/relationships/image" Target="../media/image19.png"/><Relationship Id="rId2" Type="http://schemas.openxmlformats.org/officeDocument/2006/relationships/tags" Target="../tags/tag10.xml"/><Relationship Id="rId16" Type="http://schemas.openxmlformats.org/officeDocument/2006/relationships/image" Target="../media/image10.png"/><Relationship Id="rId20" Type="http://schemas.openxmlformats.org/officeDocument/2006/relationships/image" Target="../media/image14.png"/><Relationship Id="rId1" Type="http://schemas.openxmlformats.org/officeDocument/2006/relationships/vmlDrawing" Target="../drawings/vmlDrawing3.vml"/><Relationship Id="rId6" Type="http://schemas.openxmlformats.org/officeDocument/2006/relationships/tags" Target="../tags/tag14.xml"/><Relationship Id="rId11" Type="http://schemas.openxmlformats.org/officeDocument/2006/relationships/image" Target="../media/image8.png"/><Relationship Id="rId24" Type="http://schemas.openxmlformats.org/officeDocument/2006/relationships/image" Target="../media/image18.png"/><Relationship Id="rId5" Type="http://schemas.openxmlformats.org/officeDocument/2006/relationships/tags" Target="../tags/tag13.xml"/><Relationship Id="rId15" Type="http://schemas.openxmlformats.org/officeDocument/2006/relationships/image" Target="../media/image9.png"/><Relationship Id="rId23" Type="http://schemas.openxmlformats.org/officeDocument/2006/relationships/image" Target="../media/image17.png"/><Relationship Id="rId10" Type="http://schemas.openxmlformats.org/officeDocument/2006/relationships/slideLayout" Target="../slideLayouts/slideLayout7.xml"/><Relationship Id="rId19" Type="http://schemas.openxmlformats.org/officeDocument/2006/relationships/image" Target="../media/image13.png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image" Target="../media/image5.png"/><Relationship Id="rId22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gif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8.xml"/><Relationship Id="rId5" Type="http://schemas.openxmlformats.org/officeDocument/2006/relationships/image" Target="../media/image22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9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5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0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image" Target="../media/image26.png"/><Relationship Id="rId3" Type="http://schemas.openxmlformats.org/officeDocument/2006/relationships/tags" Target="../tags/tag22.xml"/><Relationship Id="rId7" Type="http://schemas.openxmlformats.org/officeDocument/2006/relationships/oleObject" Target="../embeddings/oleObject4.bin"/><Relationship Id="rId12" Type="http://schemas.openxmlformats.org/officeDocument/2006/relationships/image" Target="../media/image25.png"/><Relationship Id="rId2" Type="http://schemas.openxmlformats.org/officeDocument/2006/relationships/tags" Target="../tags/tag21.xml"/><Relationship Id="rId16" Type="http://schemas.openxmlformats.org/officeDocument/2006/relationships/image" Target="../media/image32.png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19.xml"/><Relationship Id="rId11" Type="http://schemas.openxmlformats.org/officeDocument/2006/relationships/image" Target="../media/image31.png"/><Relationship Id="rId5" Type="http://schemas.openxmlformats.org/officeDocument/2006/relationships/tags" Target="../tags/tag24.xml"/><Relationship Id="rId15" Type="http://schemas.openxmlformats.org/officeDocument/2006/relationships/image" Target="../media/image28.png"/><Relationship Id="rId10" Type="http://schemas.openxmlformats.org/officeDocument/2006/relationships/image" Target="../media/image30.png"/><Relationship Id="rId4" Type="http://schemas.openxmlformats.org/officeDocument/2006/relationships/tags" Target="../tags/tag23.xml"/><Relationship Id="rId9" Type="http://schemas.openxmlformats.org/officeDocument/2006/relationships/image" Target="../media/image5.png"/><Relationship Id="rId1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13" Type="http://schemas.openxmlformats.org/officeDocument/2006/relationships/image" Target="../media/image35.png"/><Relationship Id="rId3" Type="http://schemas.openxmlformats.org/officeDocument/2006/relationships/tags" Target="../tags/tag26.xml"/><Relationship Id="rId7" Type="http://schemas.openxmlformats.org/officeDocument/2006/relationships/notesSlide" Target="../notesSlides/notesSlide1.xml"/><Relationship Id="rId12" Type="http://schemas.openxmlformats.org/officeDocument/2006/relationships/image" Target="../media/image34.png"/><Relationship Id="rId2" Type="http://schemas.openxmlformats.org/officeDocument/2006/relationships/tags" Target="../tags/tag25.xml"/><Relationship Id="rId16" Type="http://schemas.openxmlformats.org/officeDocument/2006/relationships/image" Target="../media/image38.jpg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19.xml"/><Relationship Id="rId11" Type="http://schemas.openxmlformats.org/officeDocument/2006/relationships/image" Target="../media/image33.png"/><Relationship Id="rId5" Type="http://schemas.openxmlformats.org/officeDocument/2006/relationships/tags" Target="../tags/tag28.xml"/><Relationship Id="rId15" Type="http://schemas.openxmlformats.org/officeDocument/2006/relationships/image" Target="../media/image37.png"/><Relationship Id="rId10" Type="http://schemas.openxmlformats.org/officeDocument/2006/relationships/image" Target="../media/image5.png"/><Relationship Id="rId4" Type="http://schemas.openxmlformats.org/officeDocument/2006/relationships/tags" Target="../tags/tag27.xml"/><Relationship Id="rId9" Type="http://schemas.openxmlformats.org/officeDocument/2006/relationships/image" Target="../media/image3.emf"/><Relationship Id="rId1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image" Target="../media/image42.png"/><Relationship Id="rId18" Type="http://schemas.openxmlformats.org/officeDocument/2006/relationships/image" Target="../media/image47.png"/><Relationship Id="rId26" Type="http://schemas.openxmlformats.org/officeDocument/2006/relationships/image" Target="../media/image55.gif"/><Relationship Id="rId3" Type="http://schemas.openxmlformats.org/officeDocument/2006/relationships/tags" Target="../tags/tag30.xml"/><Relationship Id="rId21" Type="http://schemas.openxmlformats.org/officeDocument/2006/relationships/image" Target="../media/image50.png"/><Relationship Id="rId7" Type="http://schemas.openxmlformats.org/officeDocument/2006/relationships/oleObject" Target="../embeddings/oleObject6.bin"/><Relationship Id="rId12" Type="http://schemas.openxmlformats.org/officeDocument/2006/relationships/image" Target="../media/image41.png"/><Relationship Id="rId17" Type="http://schemas.openxmlformats.org/officeDocument/2006/relationships/image" Target="../media/image46.png"/><Relationship Id="rId25" Type="http://schemas.openxmlformats.org/officeDocument/2006/relationships/image" Target="../media/image54.png"/><Relationship Id="rId2" Type="http://schemas.openxmlformats.org/officeDocument/2006/relationships/tags" Target="../tags/tag29.xml"/><Relationship Id="rId16" Type="http://schemas.openxmlformats.org/officeDocument/2006/relationships/image" Target="../media/image45.png"/><Relationship Id="rId20" Type="http://schemas.openxmlformats.org/officeDocument/2006/relationships/image" Target="../media/image49.png"/><Relationship Id="rId1" Type="http://schemas.openxmlformats.org/officeDocument/2006/relationships/vmlDrawing" Target="../drawings/vmlDrawing6.v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40.png"/><Relationship Id="rId24" Type="http://schemas.openxmlformats.org/officeDocument/2006/relationships/image" Target="../media/image53.png"/><Relationship Id="rId5" Type="http://schemas.openxmlformats.org/officeDocument/2006/relationships/tags" Target="../tags/tag32.xml"/><Relationship Id="rId15" Type="http://schemas.openxmlformats.org/officeDocument/2006/relationships/image" Target="../media/image44.png"/><Relationship Id="rId23" Type="http://schemas.openxmlformats.org/officeDocument/2006/relationships/image" Target="../media/image52.png"/><Relationship Id="rId10" Type="http://schemas.openxmlformats.org/officeDocument/2006/relationships/image" Target="../media/image39.png"/><Relationship Id="rId19" Type="http://schemas.openxmlformats.org/officeDocument/2006/relationships/image" Target="../media/image48.png"/><Relationship Id="rId4" Type="http://schemas.openxmlformats.org/officeDocument/2006/relationships/tags" Target="../tags/tag31.xml"/><Relationship Id="rId9" Type="http://schemas.openxmlformats.org/officeDocument/2006/relationships/image" Target="../media/image5.png"/><Relationship Id="rId14" Type="http://schemas.openxmlformats.org/officeDocument/2006/relationships/image" Target="../media/image43.png"/><Relationship Id="rId22" Type="http://schemas.openxmlformats.org/officeDocument/2006/relationships/image" Target="../media/image5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5234811"/>
              </p:ext>
            </p:extLst>
          </p:nvPr>
        </p:nvGraphicFramePr>
        <p:xfrm>
          <a:off x="3" y="4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" y="4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3" y="4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>
              <a:solidFill>
                <a:prstClr val="white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9597" y="2057236"/>
            <a:ext cx="7370414" cy="4808232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538631" y="487576"/>
            <a:ext cx="7611379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9600" b="1" dirty="0" smtClean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пецсвязь</a:t>
            </a:r>
            <a:endParaRPr lang="ru-RU" sz="9600" b="1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5038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1276"/>
    </mc:Choice>
    <mc:Fallback xmlns="">
      <p:transition advTm="2127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repeatCount="10000" fill="remove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4030351"/>
              </p:ext>
            </p:extLst>
          </p:nvPr>
        </p:nvGraphicFramePr>
        <p:xfrm>
          <a:off x="3" y="4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2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" y="4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3" y="4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>
              <a:solidFill>
                <a:prstClr val="white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pic>
        <p:nvPicPr>
          <p:cNvPr id="2" name="Picture 2" descr="C:\Users\N.Giniyatullina\Documents\Work\Презентации\сэ_инфорграфика\полоса.pn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" y="239630"/>
            <a:ext cx="10146623" cy="889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>
            <p:custDataLst>
              <p:tags r:id="rId5"/>
            </p:custDataLst>
          </p:nvPr>
        </p:nvSpPr>
        <p:spPr>
          <a:xfrm>
            <a:off x="450381" y="476475"/>
            <a:ext cx="6176370" cy="415339"/>
          </a:xfrm>
          <a:prstGeom prst="rect">
            <a:avLst/>
          </a:prstGeom>
          <a:noFill/>
        </p:spPr>
        <p:txBody>
          <a:bodyPr wrap="none" lIns="91281" tIns="45641" rIns="91281" bIns="45641" rtlCol="0">
            <a:spAutoFit/>
          </a:bodyPr>
          <a:lstStyle/>
          <a:p>
            <a:r>
              <a:rPr lang="ru-RU" b="1" dirty="0" smtClean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ИСТЕМА МЕНЕДЖМЕНТА И КАЧЕСТВА</a:t>
            </a:r>
            <a:endParaRPr lang="ru-RU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392" y="1358987"/>
            <a:ext cx="1419767" cy="1927559"/>
          </a:xfrm>
          <a:prstGeom prst="rect">
            <a:avLst/>
          </a:prstGeom>
          <a:noFill/>
          <a:ln w="9525">
            <a:solidFill>
              <a:srgbClr val="10285E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304213" y="1501442"/>
            <a:ext cx="7098816" cy="1754177"/>
          </a:xfrm>
          <a:prstGeom prst="rect">
            <a:avLst/>
          </a:prstGeom>
          <a:noFill/>
        </p:spPr>
        <p:txBody>
          <a:bodyPr wrap="square" lIns="91292" tIns="45646" rIns="91292" bIns="45646" rtlCol="0">
            <a:spAutoFit/>
          </a:bodyPr>
          <a:lstStyle/>
          <a:p>
            <a:pPr algn="ctr"/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ертификат </a:t>
            </a:r>
          </a:p>
          <a:p>
            <a:pPr algn="ctr"/>
            <a:r>
              <a:rPr lang="en-US" sz="1800" dirty="0" smtClean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SO 9001</a:t>
            </a:r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2008</a:t>
            </a:r>
          </a:p>
          <a:p>
            <a:pPr algn="ctr"/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ru-RU" sz="1800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Система </a:t>
            </a: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енеджмента и качества в области оказания услуг по </a:t>
            </a: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хранению</a:t>
            </a: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еревозке</a:t>
            </a: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работке</a:t>
            </a: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и </a:t>
            </a: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ставке</a:t>
            </a: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отправлений и </a:t>
            </a:r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рузов)</a:t>
            </a:r>
            <a:endParaRPr lang="ru-RU" sz="1800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08345" y="3476004"/>
            <a:ext cx="6794683" cy="1477329"/>
          </a:xfrm>
          <a:prstGeom prst="rect">
            <a:avLst/>
          </a:prstGeom>
        </p:spPr>
        <p:txBody>
          <a:bodyPr wrap="square" lIns="91292" tIns="45646" rIns="91292" bIns="45646">
            <a:spAutoFit/>
          </a:bodyPr>
          <a:lstStyle/>
          <a:p>
            <a:endParaRPr lang="ru-RU" sz="1800" dirty="0">
              <a:solidFill>
                <a:schemeClr val="tx1">
                  <a:lumMod val="85000"/>
                  <a:lumOff val="1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ru-RU" sz="1800" dirty="0">
              <a:solidFill>
                <a:schemeClr val="tx1">
                  <a:lumMod val="85000"/>
                  <a:lumOff val="1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ru-RU" sz="1800" dirty="0">
              <a:solidFill>
                <a:schemeClr val="tx1">
                  <a:lumMod val="85000"/>
                  <a:lumOff val="1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ru-RU" sz="1800" dirty="0">
              <a:solidFill>
                <a:schemeClr val="tx1">
                  <a:lumMod val="85000"/>
                  <a:lumOff val="1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ru-RU" sz="1800" dirty="0">
              <a:solidFill>
                <a:schemeClr val="tx1">
                  <a:lumMod val="85000"/>
                  <a:lumOff val="1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969" y="4922574"/>
            <a:ext cx="781007" cy="781007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857" y="6629071"/>
            <a:ext cx="1211332" cy="667233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78" y="4283711"/>
            <a:ext cx="838899" cy="559266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401" y="3549959"/>
            <a:ext cx="636154" cy="636154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800" y="5881191"/>
            <a:ext cx="597755" cy="597755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2304220" y="3683374"/>
            <a:ext cx="3728607" cy="369182"/>
          </a:xfrm>
          <a:prstGeom prst="rect">
            <a:avLst/>
          </a:prstGeom>
        </p:spPr>
        <p:txBody>
          <a:bodyPr wrap="none" lIns="91292" tIns="45646" rIns="91292" bIns="45646">
            <a:spAutoFit/>
          </a:bodyPr>
          <a:lstStyle/>
          <a:p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риентация на потребителей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2304210" y="5893795"/>
            <a:ext cx="7768819" cy="646331"/>
          </a:xfrm>
          <a:prstGeom prst="rect">
            <a:avLst/>
          </a:prstGeom>
        </p:spPr>
        <p:txBody>
          <a:bodyPr wrap="square" lIns="91292" tIns="45646" rIns="91292" bIns="45646">
            <a:spAutoFit/>
          </a:bodyPr>
          <a:lstStyle/>
          <a:p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овлечение работников в решение проблем обеспечения качества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304210" y="6731858"/>
            <a:ext cx="7768819" cy="369332"/>
          </a:xfrm>
          <a:prstGeom prst="rect">
            <a:avLst/>
          </a:prstGeom>
        </p:spPr>
        <p:txBody>
          <a:bodyPr wrap="square" lIns="91292" tIns="45646" rIns="91292" bIns="45646">
            <a:spAutoFit/>
          </a:bodyPr>
          <a:lstStyle/>
          <a:p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истемный подход к менеджменту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2304209" y="4378678"/>
            <a:ext cx="7768819" cy="369332"/>
          </a:xfrm>
          <a:prstGeom prst="rect">
            <a:avLst/>
          </a:prstGeom>
        </p:spPr>
        <p:txBody>
          <a:bodyPr wrap="square" lIns="91292" tIns="45646" rIns="91292" bIns="45646">
            <a:spAutoFit/>
          </a:bodyPr>
          <a:lstStyle/>
          <a:p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епрерывное улучшение качества услуг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2304212" y="4989912"/>
            <a:ext cx="7842434" cy="646331"/>
          </a:xfrm>
          <a:prstGeom prst="rect">
            <a:avLst/>
          </a:prstGeom>
        </p:spPr>
        <p:txBody>
          <a:bodyPr wrap="square" lIns="91292" tIns="45646" rIns="91292" bIns="45646">
            <a:spAutoFit/>
          </a:bodyPr>
          <a:lstStyle/>
          <a:p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заимовыгодное и добросовестное сотрудничество с поставщиками</a:t>
            </a:r>
          </a:p>
        </p:txBody>
      </p:sp>
    </p:spTree>
    <p:extLst>
      <p:ext uri="{BB962C8B-B14F-4D97-AF65-F5344CB8AC3E}">
        <p14:creationId xmlns:p14="http://schemas.microsoft.com/office/powerpoint/2010/main" val="3307591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1276"/>
    </mc:Choice>
    <mc:Fallback xmlns="">
      <p:transition advTm="21276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7148825"/>
              </p:ext>
            </p:extLst>
          </p:nvPr>
        </p:nvGraphicFramePr>
        <p:xfrm>
          <a:off x="3" y="4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5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" y="4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3" y="4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>
              <a:solidFill>
                <a:prstClr val="white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pic>
        <p:nvPicPr>
          <p:cNvPr id="2" name="Picture 2" descr="C:\Users\N.Giniyatullina\Documents\Work\Презентации\сэ_инфорграфика\полоса.pn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" y="239630"/>
            <a:ext cx="10146623" cy="889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>
            <p:custDataLst>
              <p:tags r:id="rId5"/>
            </p:custDataLst>
          </p:nvPr>
        </p:nvSpPr>
        <p:spPr>
          <a:xfrm>
            <a:off x="450381" y="440487"/>
            <a:ext cx="4764125" cy="415339"/>
          </a:xfrm>
          <a:prstGeom prst="rect">
            <a:avLst/>
          </a:prstGeom>
          <a:noFill/>
        </p:spPr>
        <p:txBody>
          <a:bodyPr wrap="none" lIns="91281" tIns="45641" rIns="91281" bIns="45641" rtlCol="0">
            <a:spAutoFit/>
          </a:bodyPr>
          <a:lstStyle/>
          <a:p>
            <a:r>
              <a:rPr lang="ru-RU" b="1" dirty="0" smtClean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ФО – ЦЕНТР КОМПЕТЕНЦИЙ</a:t>
            </a:r>
            <a:endParaRPr lang="ru-RU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34" name="Схема 33"/>
          <p:cNvGraphicFramePr/>
          <p:nvPr>
            <p:extLst>
              <p:ext uri="{D42A27DB-BD31-4B8C-83A1-F6EECF244321}">
                <p14:modId xmlns:p14="http://schemas.microsoft.com/office/powerpoint/2010/main" val="2669725229"/>
              </p:ext>
            </p:extLst>
          </p:nvPr>
        </p:nvGraphicFramePr>
        <p:xfrm>
          <a:off x="158765" y="15"/>
          <a:ext cx="10523791" cy="77011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  <p:extLst>
      <p:ext uri="{BB962C8B-B14F-4D97-AF65-F5344CB8AC3E}">
        <p14:creationId xmlns:p14="http://schemas.microsoft.com/office/powerpoint/2010/main" val="189320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21276"/>
    </mc:Choice>
    <mc:Fallback xmlns="">
      <p:transition advTm="21276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4891847"/>
              </p:ext>
            </p:extLst>
          </p:nvPr>
        </p:nvGraphicFramePr>
        <p:xfrm>
          <a:off x="3" y="4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7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" y="4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3" y="4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>
              <a:solidFill>
                <a:prstClr val="white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pic>
        <p:nvPicPr>
          <p:cNvPr id="2" name="Picture 2" descr="C:\Users\N.Giniyatullina\Documents\Work\Презентации\сэ_инфорграфика\полоса.pn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" y="239630"/>
            <a:ext cx="10146623" cy="889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>
            <p:custDataLst>
              <p:tags r:id="rId5"/>
            </p:custDataLst>
          </p:nvPr>
        </p:nvSpPr>
        <p:spPr>
          <a:xfrm>
            <a:off x="450387" y="476475"/>
            <a:ext cx="5472652" cy="415339"/>
          </a:xfrm>
          <a:prstGeom prst="rect">
            <a:avLst/>
          </a:prstGeom>
          <a:noFill/>
        </p:spPr>
        <p:txBody>
          <a:bodyPr wrap="none" lIns="91281" tIns="45641" rIns="91281" bIns="45641" rtlCol="0">
            <a:spAutoFit/>
          </a:bodyPr>
          <a:lstStyle/>
          <a:p>
            <a:r>
              <a:rPr lang="ru-RU" b="1" dirty="0" smtClean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УЛЬТИМОДАЛЬНЫЕ ПЕРЕВОЗКИ</a:t>
            </a:r>
            <a:endParaRPr lang="ru-RU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0504" y="1128815"/>
            <a:ext cx="7072062" cy="6294135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3183457" y="1169707"/>
            <a:ext cx="1982936" cy="523071"/>
          </a:xfrm>
          <a:prstGeom prst="rect">
            <a:avLst/>
          </a:prstGeom>
          <a:noFill/>
        </p:spPr>
        <p:txBody>
          <a:bodyPr wrap="none" lIns="91292" tIns="45646" rIns="91292" bIns="45646" rtlCol="0">
            <a:spAutoFit/>
          </a:bodyPr>
          <a:lstStyle/>
          <a:p>
            <a:pPr algn="ctr"/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железнодорожные </a:t>
            </a:r>
          </a:p>
          <a:p>
            <a:pPr algn="ctr"/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еревозк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493156" y="1431317"/>
            <a:ext cx="1990952" cy="307627"/>
          </a:xfrm>
          <a:prstGeom prst="rect">
            <a:avLst/>
          </a:prstGeom>
          <a:noFill/>
        </p:spPr>
        <p:txBody>
          <a:bodyPr wrap="none" lIns="91292" tIns="45646" rIns="91292" bIns="45646" rtlCol="0">
            <a:spAutoFit/>
          </a:bodyPr>
          <a:lstStyle/>
          <a:p>
            <a:pPr algn="ctr"/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орские перевозки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634805" y="2543583"/>
            <a:ext cx="1067621" cy="307627"/>
          </a:xfrm>
          <a:prstGeom prst="rect">
            <a:avLst/>
          </a:prstGeom>
          <a:noFill/>
        </p:spPr>
        <p:txBody>
          <a:bodyPr wrap="none" lIns="91292" tIns="45646" rIns="91292" bIns="45646" rtlCol="0">
            <a:spAutoFit/>
          </a:bodyPr>
          <a:lstStyle/>
          <a:p>
            <a:pPr algn="ctr"/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рминал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007355" y="4121997"/>
            <a:ext cx="979457" cy="307627"/>
          </a:xfrm>
          <a:prstGeom prst="rect">
            <a:avLst/>
          </a:prstGeom>
          <a:noFill/>
        </p:spPr>
        <p:txBody>
          <a:bodyPr wrap="none" lIns="91292" tIns="45646" rIns="91292" bIns="45646" rtlCol="0">
            <a:spAutoFit/>
          </a:bodyPr>
          <a:lstStyle/>
          <a:p>
            <a:pPr algn="ctr"/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аможня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205487" y="5653859"/>
            <a:ext cx="1562950" cy="307627"/>
          </a:xfrm>
          <a:prstGeom prst="rect">
            <a:avLst/>
          </a:prstGeom>
          <a:noFill/>
        </p:spPr>
        <p:txBody>
          <a:bodyPr wrap="none" lIns="91292" tIns="45646" rIns="91292" bIns="45646" rtlCol="0">
            <a:spAutoFit/>
          </a:bodyPr>
          <a:lstStyle/>
          <a:p>
            <a:pPr algn="ctr"/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втоперевозка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297351" y="7072483"/>
            <a:ext cx="1251967" cy="307627"/>
          </a:xfrm>
          <a:prstGeom prst="rect">
            <a:avLst/>
          </a:prstGeom>
          <a:noFill/>
        </p:spPr>
        <p:txBody>
          <a:bodyPr wrap="none" lIns="91292" tIns="45646" rIns="91292" bIns="45646" rtlCol="0">
            <a:spAutoFit/>
          </a:bodyPr>
          <a:lstStyle/>
          <a:p>
            <a:pPr algn="ctr"/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купатель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877074" y="7072483"/>
            <a:ext cx="1069225" cy="307627"/>
          </a:xfrm>
          <a:prstGeom prst="rect">
            <a:avLst/>
          </a:prstGeom>
          <a:noFill/>
        </p:spPr>
        <p:txBody>
          <a:bodyPr wrap="none" lIns="91292" tIns="45646" rIns="91292" bIns="45646" rtlCol="0">
            <a:spAutoFit/>
          </a:bodyPr>
          <a:lstStyle/>
          <a:p>
            <a:pPr algn="ctr"/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давец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17017" y="5653859"/>
            <a:ext cx="1562950" cy="307627"/>
          </a:xfrm>
          <a:prstGeom prst="rect">
            <a:avLst/>
          </a:prstGeom>
          <a:noFill/>
        </p:spPr>
        <p:txBody>
          <a:bodyPr wrap="none" lIns="91292" tIns="45646" rIns="91292" bIns="45646" rtlCol="0">
            <a:spAutoFit/>
          </a:bodyPr>
          <a:lstStyle/>
          <a:p>
            <a:pPr algn="ctr"/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втоперевозка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0784" y="4121997"/>
            <a:ext cx="979457" cy="307627"/>
          </a:xfrm>
          <a:prstGeom prst="rect">
            <a:avLst/>
          </a:prstGeom>
          <a:noFill/>
        </p:spPr>
        <p:txBody>
          <a:bodyPr wrap="none" lIns="91292" tIns="45646" rIns="91292" bIns="45646" rtlCol="0">
            <a:spAutoFit/>
          </a:bodyPr>
          <a:lstStyle/>
          <a:p>
            <a:pPr algn="ctr"/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аможня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398642" y="2543583"/>
            <a:ext cx="1067621" cy="307627"/>
          </a:xfrm>
          <a:prstGeom prst="rect">
            <a:avLst/>
          </a:prstGeom>
          <a:noFill/>
        </p:spPr>
        <p:txBody>
          <a:bodyPr wrap="none" lIns="91292" tIns="45646" rIns="91292" bIns="45646" rtlCol="0">
            <a:spAutoFit/>
          </a:bodyPr>
          <a:lstStyle/>
          <a:p>
            <a:pPr algn="ctr"/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рминал</a:t>
            </a:r>
          </a:p>
        </p:txBody>
      </p:sp>
    </p:spTree>
    <p:extLst>
      <p:ext uri="{BB962C8B-B14F-4D97-AF65-F5344CB8AC3E}">
        <p14:creationId xmlns:p14="http://schemas.microsoft.com/office/powerpoint/2010/main" val="1202792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1276"/>
    </mc:Choice>
    <mc:Fallback xmlns="">
      <p:transition advTm="21276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89499"/>
              </p:ext>
            </p:extLst>
          </p:nvPr>
        </p:nvGraphicFramePr>
        <p:xfrm>
          <a:off x="3" y="4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8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" y="4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3" y="4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>
              <a:solidFill>
                <a:prstClr val="white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pic>
        <p:nvPicPr>
          <p:cNvPr id="2" name="Picture 2" descr="C:\Users\N.Giniyatullina\Documents\Work\Презентации\сэ_инфорграфика\полоса.pn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" y="239630"/>
            <a:ext cx="10146623" cy="889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>
            <p:custDataLst>
              <p:tags r:id="rId5"/>
            </p:custDataLst>
          </p:nvPr>
        </p:nvSpPr>
        <p:spPr>
          <a:xfrm>
            <a:off x="450385" y="476475"/>
            <a:ext cx="5802871" cy="415339"/>
          </a:xfrm>
          <a:prstGeom prst="rect">
            <a:avLst/>
          </a:prstGeom>
          <a:noFill/>
        </p:spPr>
        <p:txBody>
          <a:bodyPr wrap="none" lIns="91281" tIns="45641" rIns="91281" bIns="45641" rtlCol="0">
            <a:spAutoFit/>
          </a:bodyPr>
          <a:lstStyle/>
          <a:p>
            <a:r>
              <a:rPr lang="ru-RU" b="1" dirty="0" smtClean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ПЕЦСВЯЗЬ – НАДЕЖНЫЙ ПАРТНЕР</a:t>
            </a:r>
            <a:endParaRPr lang="ru-RU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377" y="1225268"/>
            <a:ext cx="2431985" cy="16322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784" y="5354310"/>
            <a:ext cx="1341169" cy="1597679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2002" y="3557670"/>
            <a:ext cx="1030011" cy="1151987"/>
          </a:xfrm>
          <a:prstGeom prst="rect">
            <a:avLst/>
          </a:prstGeo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sp>
        <p:nvSpPr>
          <p:cNvPr id="25" name="Прямоугольник 24"/>
          <p:cNvSpPr/>
          <p:nvPr/>
        </p:nvSpPr>
        <p:spPr>
          <a:xfrm>
            <a:off x="3107485" y="3275149"/>
            <a:ext cx="5510825" cy="1754317"/>
          </a:xfrm>
          <a:prstGeom prst="rect">
            <a:avLst/>
          </a:prstGeom>
        </p:spPr>
        <p:txBody>
          <a:bodyPr wrap="square" lIns="91281" tIns="45641" rIns="91281" bIns="45641">
            <a:spAutoFit/>
          </a:bodyPr>
          <a:lstStyle/>
          <a:p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бедитель Национальной премии «Транспортная безопасность России-2015» в номинации «Лучшее предприятие (объект транспортной инфраструктуры) на автомобильном транспорте и в дорожном хозяйстве»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3107487" y="5491422"/>
            <a:ext cx="5510824" cy="1384835"/>
          </a:xfrm>
          <a:prstGeom prst="rect">
            <a:avLst/>
          </a:prstGeom>
        </p:spPr>
        <p:txBody>
          <a:bodyPr wrap="square" lIns="91281" tIns="45641" rIns="91281" bIns="45641">
            <a:spAutoFit/>
          </a:bodyPr>
          <a:lstStyle/>
          <a:p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рганизация и руководство ассоциацией производителей </a:t>
            </a:r>
          </a:p>
          <a:p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 перевозчиков опасных грузов</a:t>
            </a:r>
          </a:p>
          <a:p>
            <a:pPr algn="ctr"/>
            <a:endParaRPr lang="ru-RU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496" y="3105553"/>
            <a:ext cx="1621744" cy="2056223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3107500" y="1718218"/>
            <a:ext cx="7039157" cy="646331"/>
          </a:xfrm>
          <a:prstGeom prst="rect">
            <a:avLst/>
          </a:prstGeom>
        </p:spPr>
        <p:txBody>
          <a:bodyPr wrap="square" lIns="91292" tIns="45646" rIns="91292" bIns="45646">
            <a:spAutoFit/>
          </a:bodyPr>
          <a:lstStyle/>
          <a:p>
            <a:pPr defTabSz="1041069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ГУП ГЦСС внесено в Реестр надёжных партнёров  </a:t>
            </a:r>
          </a:p>
          <a:p>
            <a:pPr defTabSz="1041069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оргово-промышленной палаты РФ </a:t>
            </a:r>
          </a:p>
        </p:txBody>
      </p:sp>
    </p:spTree>
    <p:extLst>
      <p:ext uri="{BB962C8B-B14F-4D97-AF65-F5344CB8AC3E}">
        <p14:creationId xmlns:p14="http://schemas.microsoft.com/office/powerpoint/2010/main" val="3762035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21276"/>
    </mc:Choice>
    <mc:Fallback xmlns="">
      <p:transition advTm="21276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2124750"/>
              </p:ext>
            </p:extLst>
          </p:nvPr>
        </p:nvGraphicFramePr>
        <p:xfrm>
          <a:off x="3" y="4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" y="4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3" y="4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>
              <a:solidFill>
                <a:prstClr val="white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1923" y="2080988"/>
            <a:ext cx="6455002" cy="4353374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875789" y="487576"/>
            <a:ext cx="893706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4800" b="1" dirty="0" smtClean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ПАСИБО ЗА ВНИМАНИЕ</a:t>
            </a:r>
            <a:endParaRPr lang="ru-RU" sz="4800" b="1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9069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1276"/>
    </mc:Choice>
    <mc:Fallback xmlns="">
      <p:transition advTm="2127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repeatCount="10000" fill="remove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0712944"/>
              </p:ext>
            </p:extLst>
          </p:nvPr>
        </p:nvGraphicFramePr>
        <p:xfrm>
          <a:off x="3" y="4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" y="4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3" y="4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>
              <a:latin typeface="Tahoma"/>
              <a:ea typeface="Tahoma"/>
              <a:cs typeface="Tahoma"/>
              <a:sym typeface="Tahoma"/>
            </a:endParaRPr>
          </a:p>
        </p:txBody>
      </p:sp>
      <p:pic>
        <p:nvPicPr>
          <p:cNvPr id="2" name="Picture 2" descr="C:\Users\N.Giniyatullina\Documents\Work\Презентации\сэ_инфорграфика\полоса.pn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" y="239630"/>
            <a:ext cx="10146623" cy="889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>
            <p:custDataLst>
              <p:tags r:id="rId5"/>
            </p:custDataLst>
          </p:nvPr>
        </p:nvSpPr>
        <p:spPr>
          <a:xfrm>
            <a:off x="450384" y="476475"/>
            <a:ext cx="3164328" cy="415339"/>
          </a:xfrm>
          <a:prstGeom prst="rect">
            <a:avLst/>
          </a:prstGeom>
          <a:noFill/>
        </p:spPr>
        <p:txBody>
          <a:bodyPr wrap="none" lIns="91281" tIns="45641" rIns="91281" bIns="45641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СТОРИЯ</a:t>
            </a:r>
            <a:r>
              <a:rPr lang="en-US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ЛУЖБЫ</a:t>
            </a:r>
            <a:endParaRPr lang="ru-RU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TextBox 48"/>
          <p:cNvSpPr txBox="1"/>
          <p:nvPr>
            <p:custDataLst>
              <p:tags r:id="rId6"/>
            </p:custDataLst>
          </p:nvPr>
        </p:nvSpPr>
        <p:spPr>
          <a:xfrm>
            <a:off x="2617086" y="2900857"/>
            <a:ext cx="184409" cy="415339"/>
          </a:xfrm>
          <a:prstGeom prst="rect">
            <a:avLst/>
          </a:prstGeom>
          <a:noFill/>
        </p:spPr>
        <p:txBody>
          <a:bodyPr wrap="none" lIns="91281" tIns="45641" rIns="91281" bIns="45641" rtlCol="0">
            <a:spAutoFit/>
          </a:bodyPr>
          <a:lstStyle/>
          <a:p>
            <a:endParaRPr lang="ru-RU" dirty="0"/>
          </a:p>
        </p:txBody>
      </p:sp>
      <p:sp>
        <p:nvSpPr>
          <p:cNvPr id="50" name="Прямоугольник 49"/>
          <p:cNvSpPr/>
          <p:nvPr>
            <p:custDataLst>
              <p:tags r:id="rId7"/>
            </p:custDataLst>
          </p:nvPr>
        </p:nvSpPr>
        <p:spPr>
          <a:xfrm>
            <a:off x="5568861" y="4511040"/>
            <a:ext cx="4577781" cy="2585164"/>
          </a:xfrm>
          <a:prstGeom prst="rect">
            <a:avLst/>
          </a:prstGeom>
          <a:noFill/>
        </p:spPr>
        <p:txBody>
          <a:bodyPr wrap="square" lIns="91281" tIns="45641" rIns="91281" bIns="45641" rtlCol="0">
            <a:spAutoFit/>
          </a:bodyPr>
          <a:lstStyle/>
          <a:p>
            <a:pPr indent="456403" algn="just"/>
            <a:endParaRPr lang="ru-RU" sz="1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indent="456403" algn="just"/>
            <a:r>
              <a:rPr lang="ru-RU" sz="1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 августа 1939 года</a:t>
            </a:r>
            <a:r>
              <a:rPr lang="ru-RU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лужба специальной связи приступила к приему</a:t>
            </a:r>
            <a:r>
              <a:rPr lang="ru-RU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ru-RU" sz="1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работке</a:t>
            </a:r>
            <a:r>
              <a:rPr lang="ru-RU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 доставке секретных отправлений</a:t>
            </a:r>
            <a:r>
              <a:rPr lang="ru-RU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обслуживанию советских и партийных органов, предприятий и воинских частей. Была утверждена структура специальной связи.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450376" y="1331194"/>
            <a:ext cx="4909900" cy="3416320"/>
          </a:xfrm>
          <a:prstGeom prst="rect">
            <a:avLst/>
          </a:prstGeom>
        </p:spPr>
        <p:txBody>
          <a:bodyPr wrap="square" lIns="91281" tIns="45641" rIns="91281" bIns="45641">
            <a:spAutoFit/>
          </a:bodyPr>
          <a:lstStyle/>
          <a:p>
            <a:pPr indent="456403" algn="just"/>
            <a:r>
              <a:rPr lang="ru-RU" sz="1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1939 году</a:t>
            </a:r>
            <a:r>
              <a:rPr lang="ru-RU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становлением СНК СССР</a:t>
            </a:r>
            <a:r>
              <a:rPr lang="ru-RU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от 17 июня 1939 года «О реорганизации фельдъегерской связи НКВД СССР» </a:t>
            </a:r>
            <a:r>
              <a:rPr lang="ru-RU" sz="1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з состава </a:t>
            </a:r>
            <a:r>
              <a:rPr lang="ru-RU" sz="18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ельдъсвязи</a:t>
            </a:r>
            <a:r>
              <a:rPr lang="ru-RU" sz="1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НКВД СССР выделена специальная связь Наркомата связи</a:t>
            </a:r>
            <a:r>
              <a:rPr lang="ru-RU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на которую возложена «перевозка от всех ведомств секретной, совершенно секретной корреспонденции и драгоценных металлов от центра до районов и обратно»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1350" y="1418396"/>
            <a:ext cx="3905294" cy="354111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780" y="4747514"/>
            <a:ext cx="3953019" cy="265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400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21276"/>
    </mc:Choice>
    <mc:Fallback xmlns="">
      <p:transition advTm="21276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Рисунок 100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471" y="1241239"/>
            <a:ext cx="3464531" cy="303979"/>
          </a:xfrm>
          <a:prstGeom prst="rect">
            <a:avLst/>
          </a:prstGeom>
        </p:spPr>
      </p:pic>
      <p:pic>
        <p:nvPicPr>
          <p:cNvPr id="99" name="Рисунок 98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6206" y="1241240"/>
            <a:ext cx="3464531" cy="303979"/>
          </a:xfrm>
          <a:prstGeom prst="rect">
            <a:avLst/>
          </a:prstGeom>
        </p:spPr>
      </p:pic>
      <p:sp>
        <p:nvSpPr>
          <p:cNvPr id="100" name="TextBox 99"/>
          <p:cNvSpPr txBox="1"/>
          <p:nvPr>
            <p:custDataLst>
              <p:tags r:id="rId2"/>
            </p:custDataLst>
          </p:nvPr>
        </p:nvSpPr>
        <p:spPr>
          <a:xfrm>
            <a:off x="5192104" y="1225515"/>
            <a:ext cx="1275990" cy="369172"/>
          </a:xfrm>
          <a:prstGeom prst="rect">
            <a:avLst/>
          </a:prstGeom>
          <a:noFill/>
        </p:spPr>
        <p:txBody>
          <a:bodyPr wrap="none" lIns="91281" tIns="45641" rIns="91281" bIns="45641" rtlCol="0">
            <a:spAutoFit/>
          </a:bodyPr>
          <a:lstStyle/>
          <a:p>
            <a:r>
              <a:rPr lang="ru-RU" sz="1800" b="1" dirty="0" smtClean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960-80</a:t>
            </a:r>
            <a:endParaRPr lang="ru-RU" sz="1800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25239398"/>
              </p:ext>
            </p:extLst>
          </p:nvPr>
        </p:nvGraphicFramePr>
        <p:xfrm>
          <a:off x="3" y="4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" y="4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4"/>
            </p:custDataLst>
          </p:nvPr>
        </p:nvSpPr>
        <p:spPr bwMode="auto">
          <a:xfrm>
            <a:off x="3" y="4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>
              <a:solidFill>
                <a:prstClr val="white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pic>
        <p:nvPicPr>
          <p:cNvPr id="2" name="Picture 2" descr="C:\Users\N.Giniyatullina\Documents\Work\Презентации\сэ_инфорграфика\полоса.pn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" y="239630"/>
            <a:ext cx="10146623" cy="889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>
            <p:custDataLst>
              <p:tags r:id="rId6"/>
            </p:custDataLst>
          </p:nvPr>
        </p:nvSpPr>
        <p:spPr>
          <a:xfrm>
            <a:off x="450383" y="476475"/>
            <a:ext cx="2470227" cy="415339"/>
          </a:xfrm>
          <a:prstGeom prst="rect">
            <a:avLst/>
          </a:prstGeom>
          <a:noFill/>
        </p:spPr>
        <p:txBody>
          <a:bodyPr wrap="none" lIns="91281" tIns="45641" rIns="91281" bIns="45641" rtlCol="0">
            <a:spAutoFit/>
          </a:bodyPr>
          <a:lstStyle/>
          <a:p>
            <a:r>
              <a:rPr lang="ru-RU" b="1" dirty="0" smtClean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ШИ УСЛУГИ</a:t>
            </a:r>
            <a:endParaRPr lang="ru-RU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15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969" y="5337821"/>
            <a:ext cx="404393" cy="326437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6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307" y="3113695"/>
            <a:ext cx="359050" cy="348332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7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713" y="2469971"/>
            <a:ext cx="272954" cy="524911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18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463" y="2099770"/>
            <a:ext cx="419468" cy="588167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19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124" y="4295611"/>
            <a:ext cx="285415" cy="371040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20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752" y="3684309"/>
            <a:ext cx="359029" cy="359028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21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752" y="4753609"/>
            <a:ext cx="363920" cy="353057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2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193" y="6352075"/>
            <a:ext cx="411483" cy="302561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2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480" y="6903560"/>
            <a:ext cx="459893" cy="369124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24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987" y="5843751"/>
            <a:ext cx="435690" cy="349698"/>
          </a:xfrm>
          <a:prstGeom prst="rect">
            <a:avLst/>
          </a:prstGeom>
        </p:spPr>
      </p:pic>
      <p:sp>
        <p:nvSpPr>
          <p:cNvPr id="55" name="TextBox 54"/>
          <p:cNvSpPr txBox="1"/>
          <p:nvPr/>
        </p:nvSpPr>
        <p:spPr>
          <a:xfrm>
            <a:off x="784947" y="5208653"/>
            <a:ext cx="2375310" cy="584775"/>
          </a:xfrm>
          <a:prstGeom prst="rect">
            <a:avLst/>
          </a:prstGeom>
          <a:noFill/>
        </p:spPr>
        <p:txBody>
          <a:bodyPr wrap="square" lIns="91428" tIns="45715" rIns="91428" bIns="45715" rtlCol="0">
            <a:spAutoFit/>
          </a:bodyPr>
          <a:lstStyle/>
          <a:p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личные деньги и ценные бумаги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784947" y="6795739"/>
            <a:ext cx="2870353" cy="584765"/>
          </a:xfrm>
          <a:prstGeom prst="rect">
            <a:avLst/>
          </a:prstGeom>
          <a:noFill/>
        </p:spPr>
        <p:txBody>
          <a:bodyPr wrap="square" lIns="91428" tIns="45715" rIns="91428" bIns="45715" rtlCol="0">
            <a:spAutoFit/>
          </a:bodyPr>
          <a:lstStyle/>
          <a:p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екретные </a:t>
            </a:r>
            <a:endParaRPr lang="en-US" sz="1600" dirty="0" smtClean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тправления</a:t>
            </a:r>
            <a:endParaRPr lang="ru-RU" sz="1600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810896" y="4225043"/>
            <a:ext cx="2806794" cy="584765"/>
          </a:xfrm>
          <a:prstGeom prst="rect">
            <a:avLst/>
          </a:prstGeom>
          <a:noFill/>
        </p:spPr>
        <p:txBody>
          <a:bodyPr wrap="square" lIns="91428" tIns="45715" rIns="91428" bIns="45715" rtlCol="0">
            <a:spAutoFit/>
          </a:bodyPr>
          <a:lstStyle/>
          <a:p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ркотические </a:t>
            </a:r>
            <a:endParaRPr lang="en-US" sz="1600" dirty="0" smtClean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редства</a:t>
            </a:r>
            <a:endParaRPr lang="ru-RU" sz="1600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84947" y="6210974"/>
            <a:ext cx="3031943" cy="584765"/>
          </a:xfrm>
          <a:prstGeom prst="rect">
            <a:avLst/>
          </a:prstGeom>
          <a:noFill/>
        </p:spPr>
        <p:txBody>
          <a:bodyPr wrap="square" lIns="91428" tIns="45715" rIns="91428" bIns="45715" rtlCol="0">
            <a:spAutoFit/>
          </a:bodyPr>
          <a:lstStyle/>
          <a:p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тандартные </a:t>
            </a:r>
            <a:endParaRPr lang="en-US" sz="1600" dirty="0" smtClean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тправления</a:t>
            </a:r>
            <a:endParaRPr lang="ru-RU" sz="1600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764926" y="3616130"/>
            <a:ext cx="2375310" cy="584775"/>
          </a:xfrm>
          <a:prstGeom prst="rect">
            <a:avLst/>
          </a:prstGeom>
          <a:noFill/>
        </p:spPr>
        <p:txBody>
          <a:bodyPr wrap="square" lIns="91428" tIns="45715" rIns="91428" bIns="45715" rtlCol="0">
            <a:spAutoFit/>
          </a:bodyPr>
          <a:lstStyle/>
          <a:p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ружие и военная продукция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784947" y="3146677"/>
            <a:ext cx="1859095" cy="338554"/>
          </a:xfrm>
          <a:prstGeom prst="rect">
            <a:avLst/>
          </a:prstGeom>
          <a:noFill/>
        </p:spPr>
        <p:txBody>
          <a:bodyPr wrap="square" lIns="91428" tIns="45715" rIns="91428" bIns="45715" rtlCol="0">
            <a:spAutoFit/>
          </a:bodyPr>
          <a:lstStyle/>
          <a:p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пасные грузы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764926" y="2420718"/>
            <a:ext cx="1994385" cy="584775"/>
          </a:xfrm>
          <a:prstGeom prst="rect">
            <a:avLst/>
          </a:prstGeom>
          <a:noFill/>
        </p:spPr>
        <p:txBody>
          <a:bodyPr wrap="square" lIns="91428" tIns="45715" rIns="91428" bIns="45715" rtlCol="0">
            <a:spAutoFit/>
          </a:bodyPr>
          <a:lstStyle/>
          <a:p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аможенное оформление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810896" y="4760865"/>
            <a:ext cx="2375310" cy="338544"/>
          </a:xfrm>
          <a:prstGeom prst="rect">
            <a:avLst/>
          </a:prstGeom>
          <a:noFill/>
        </p:spPr>
        <p:txBody>
          <a:bodyPr wrap="square" lIns="91428" tIns="45715" rIns="91428" bIns="45715" rtlCol="0">
            <a:spAutoFit/>
          </a:bodyPr>
          <a:lstStyle/>
          <a:p>
            <a:pPr algn="ctr"/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едметы искусства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810896" y="2092017"/>
            <a:ext cx="2375310" cy="338554"/>
          </a:xfrm>
          <a:prstGeom prst="rect">
            <a:avLst/>
          </a:prstGeom>
          <a:noFill/>
        </p:spPr>
        <p:txBody>
          <a:bodyPr wrap="square" lIns="91428" tIns="45715" rIns="91428" bIns="45715" rtlCol="0">
            <a:spAutoFit/>
          </a:bodyPr>
          <a:lstStyle/>
          <a:p>
            <a:pPr algn="ctr"/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экспресс - доставка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753140" y="5842946"/>
            <a:ext cx="2375310" cy="338544"/>
          </a:xfrm>
          <a:prstGeom prst="rect">
            <a:avLst/>
          </a:prstGeom>
          <a:noFill/>
        </p:spPr>
        <p:txBody>
          <a:bodyPr wrap="square" lIns="91428" tIns="45715" rIns="91428" bIns="45715" rtlCol="0">
            <a:spAutoFit/>
          </a:bodyPr>
          <a:lstStyle/>
          <a:p>
            <a:pPr algn="ctr"/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ювелирные изделия</a:t>
            </a:r>
          </a:p>
        </p:txBody>
      </p:sp>
      <p:sp>
        <p:nvSpPr>
          <p:cNvPr id="70" name="Крест 69"/>
          <p:cNvSpPr/>
          <p:nvPr/>
        </p:nvSpPr>
        <p:spPr>
          <a:xfrm>
            <a:off x="3951490" y="6946938"/>
            <a:ext cx="288758" cy="282368"/>
          </a:xfrm>
          <a:prstGeom prst="plus">
            <a:avLst>
              <a:gd name="adj" fmla="val 3834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5" tIns="45658" rIns="91315" bIns="45658" spcCol="0" rtlCol="0" anchor="ctr"/>
          <a:lstStyle/>
          <a:p>
            <a:pPr algn="ctr" defTabSz="495051"/>
            <a:endParaRPr lang="ru-RU">
              <a:solidFill>
                <a:prstClr val="white"/>
              </a:solidFill>
            </a:endParaRPr>
          </a:p>
        </p:txBody>
      </p:sp>
      <p:sp>
        <p:nvSpPr>
          <p:cNvPr id="71" name="Крест 70"/>
          <p:cNvSpPr/>
          <p:nvPr/>
        </p:nvSpPr>
        <p:spPr>
          <a:xfrm>
            <a:off x="5680287" y="6946938"/>
            <a:ext cx="288758" cy="282368"/>
          </a:xfrm>
          <a:prstGeom prst="plus">
            <a:avLst>
              <a:gd name="adj" fmla="val 3834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5" tIns="45658" rIns="91315" bIns="45658" spcCol="0" rtlCol="0" anchor="ctr"/>
          <a:lstStyle/>
          <a:p>
            <a:pPr algn="ctr" defTabSz="495051"/>
            <a:endParaRPr lang="ru-RU">
              <a:solidFill>
                <a:prstClr val="white"/>
              </a:solidFill>
            </a:endParaRPr>
          </a:p>
        </p:txBody>
      </p:sp>
      <p:sp>
        <p:nvSpPr>
          <p:cNvPr id="72" name="Крест 71"/>
          <p:cNvSpPr/>
          <p:nvPr/>
        </p:nvSpPr>
        <p:spPr>
          <a:xfrm>
            <a:off x="7409084" y="6946938"/>
            <a:ext cx="288758" cy="282368"/>
          </a:xfrm>
          <a:prstGeom prst="plus">
            <a:avLst>
              <a:gd name="adj" fmla="val 3834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5" tIns="45658" rIns="91315" bIns="45658" spcCol="0" rtlCol="0" anchor="ctr"/>
          <a:lstStyle/>
          <a:p>
            <a:pPr algn="ctr" defTabSz="495051"/>
            <a:endParaRPr lang="ru-RU">
              <a:solidFill>
                <a:prstClr val="white"/>
              </a:solidFill>
            </a:endParaRPr>
          </a:p>
        </p:txBody>
      </p:sp>
      <p:sp>
        <p:nvSpPr>
          <p:cNvPr id="73" name="Крест 72"/>
          <p:cNvSpPr/>
          <p:nvPr/>
        </p:nvSpPr>
        <p:spPr>
          <a:xfrm>
            <a:off x="9137880" y="6946938"/>
            <a:ext cx="288758" cy="282368"/>
          </a:xfrm>
          <a:prstGeom prst="plus">
            <a:avLst>
              <a:gd name="adj" fmla="val 3834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5" tIns="45658" rIns="91315" bIns="45658" spcCol="0" rtlCol="0" anchor="ctr"/>
          <a:lstStyle/>
          <a:p>
            <a:pPr algn="ctr" defTabSz="495051"/>
            <a:endParaRPr lang="ru-RU">
              <a:solidFill>
                <a:prstClr val="white"/>
              </a:solidFill>
            </a:endParaRPr>
          </a:p>
        </p:txBody>
      </p:sp>
      <p:sp>
        <p:nvSpPr>
          <p:cNvPr id="74" name="Крест 73"/>
          <p:cNvSpPr/>
          <p:nvPr/>
        </p:nvSpPr>
        <p:spPr>
          <a:xfrm>
            <a:off x="5680287" y="6430124"/>
            <a:ext cx="288758" cy="282368"/>
          </a:xfrm>
          <a:prstGeom prst="plus">
            <a:avLst>
              <a:gd name="adj" fmla="val 3834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5" tIns="45658" rIns="91315" bIns="45658" spcCol="0" rtlCol="0" anchor="ctr"/>
          <a:lstStyle/>
          <a:p>
            <a:pPr algn="ctr" defTabSz="495051"/>
            <a:endParaRPr lang="ru-RU">
              <a:solidFill>
                <a:prstClr val="white"/>
              </a:solidFill>
            </a:endParaRPr>
          </a:p>
        </p:txBody>
      </p:sp>
      <p:sp>
        <p:nvSpPr>
          <p:cNvPr id="75" name="Крест 74"/>
          <p:cNvSpPr/>
          <p:nvPr/>
        </p:nvSpPr>
        <p:spPr>
          <a:xfrm>
            <a:off x="7408431" y="6430123"/>
            <a:ext cx="288758" cy="282368"/>
          </a:xfrm>
          <a:prstGeom prst="plus">
            <a:avLst>
              <a:gd name="adj" fmla="val 3834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5" tIns="45658" rIns="91315" bIns="45658" spcCol="0" rtlCol="0" anchor="ctr"/>
          <a:lstStyle/>
          <a:p>
            <a:pPr algn="ctr" defTabSz="495051"/>
            <a:endParaRPr lang="ru-RU">
              <a:solidFill>
                <a:prstClr val="white"/>
              </a:solidFill>
            </a:endParaRPr>
          </a:p>
        </p:txBody>
      </p:sp>
      <p:sp>
        <p:nvSpPr>
          <p:cNvPr id="76" name="Крест 75"/>
          <p:cNvSpPr/>
          <p:nvPr/>
        </p:nvSpPr>
        <p:spPr>
          <a:xfrm>
            <a:off x="9137880" y="6430124"/>
            <a:ext cx="288758" cy="282368"/>
          </a:xfrm>
          <a:prstGeom prst="plus">
            <a:avLst>
              <a:gd name="adj" fmla="val 3834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5" tIns="45658" rIns="91315" bIns="45658" spcCol="0" rtlCol="0" anchor="ctr"/>
          <a:lstStyle/>
          <a:p>
            <a:pPr algn="ctr" defTabSz="495051"/>
            <a:endParaRPr lang="ru-RU">
              <a:solidFill>
                <a:prstClr val="white"/>
              </a:solidFill>
            </a:endParaRPr>
          </a:p>
        </p:txBody>
      </p:sp>
      <p:sp>
        <p:nvSpPr>
          <p:cNvPr id="77" name="Крест 76"/>
          <p:cNvSpPr/>
          <p:nvPr/>
        </p:nvSpPr>
        <p:spPr>
          <a:xfrm>
            <a:off x="5685720" y="5911081"/>
            <a:ext cx="288758" cy="282368"/>
          </a:xfrm>
          <a:prstGeom prst="plus">
            <a:avLst>
              <a:gd name="adj" fmla="val 3834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5" tIns="45658" rIns="91315" bIns="45658" spcCol="0" rtlCol="0" anchor="ctr"/>
          <a:lstStyle/>
          <a:p>
            <a:pPr algn="ctr" defTabSz="495051"/>
            <a:endParaRPr lang="ru-RU">
              <a:solidFill>
                <a:prstClr val="white"/>
              </a:solidFill>
            </a:endParaRPr>
          </a:p>
        </p:txBody>
      </p:sp>
      <p:sp>
        <p:nvSpPr>
          <p:cNvPr id="81" name="Крест 80"/>
          <p:cNvSpPr/>
          <p:nvPr/>
        </p:nvSpPr>
        <p:spPr>
          <a:xfrm>
            <a:off x="7401225" y="3772610"/>
            <a:ext cx="288758" cy="282368"/>
          </a:xfrm>
          <a:prstGeom prst="plus">
            <a:avLst>
              <a:gd name="adj" fmla="val 3834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5" tIns="45658" rIns="91315" bIns="45658" spcCol="0" rtlCol="0" anchor="ctr"/>
          <a:lstStyle/>
          <a:p>
            <a:pPr algn="ctr" defTabSz="495051"/>
            <a:endParaRPr lang="ru-RU">
              <a:solidFill>
                <a:prstClr val="white"/>
              </a:solidFill>
            </a:endParaRPr>
          </a:p>
        </p:txBody>
      </p:sp>
      <p:sp>
        <p:nvSpPr>
          <p:cNvPr id="83" name="Крест 82"/>
          <p:cNvSpPr/>
          <p:nvPr/>
        </p:nvSpPr>
        <p:spPr>
          <a:xfrm>
            <a:off x="7408431" y="4926285"/>
            <a:ext cx="288758" cy="282368"/>
          </a:xfrm>
          <a:prstGeom prst="plus">
            <a:avLst>
              <a:gd name="adj" fmla="val 3834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5" tIns="45658" rIns="91315" bIns="45658" spcCol="0" rtlCol="0" anchor="ctr"/>
          <a:lstStyle/>
          <a:p>
            <a:pPr algn="ctr" defTabSz="495051"/>
            <a:endParaRPr lang="ru-RU">
              <a:solidFill>
                <a:prstClr val="white"/>
              </a:solidFill>
            </a:endParaRPr>
          </a:p>
        </p:txBody>
      </p:sp>
      <p:sp>
        <p:nvSpPr>
          <p:cNvPr id="84" name="Крест 83"/>
          <p:cNvSpPr/>
          <p:nvPr/>
        </p:nvSpPr>
        <p:spPr>
          <a:xfrm>
            <a:off x="7408431" y="5877416"/>
            <a:ext cx="288758" cy="282368"/>
          </a:xfrm>
          <a:prstGeom prst="plus">
            <a:avLst>
              <a:gd name="adj" fmla="val 3834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5" tIns="45658" rIns="91315" bIns="45658" spcCol="0" rtlCol="0" anchor="ctr"/>
          <a:lstStyle/>
          <a:p>
            <a:pPr algn="ctr" defTabSz="495051"/>
            <a:endParaRPr lang="ru-RU">
              <a:solidFill>
                <a:prstClr val="white"/>
              </a:solidFill>
            </a:endParaRPr>
          </a:p>
        </p:txBody>
      </p:sp>
      <p:sp>
        <p:nvSpPr>
          <p:cNvPr id="85" name="Крест 84"/>
          <p:cNvSpPr/>
          <p:nvPr/>
        </p:nvSpPr>
        <p:spPr>
          <a:xfrm>
            <a:off x="7409084" y="5359856"/>
            <a:ext cx="288758" cy="282368"/>
          </a:xfrm>
          <a:prstGeom prst="plus">
            <a:avLst>
              <a:gd name="adj" fmla="val 3834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5" tIns="45658" rIns="91315" bIns="45658" spcCol="0" rtlCol="0" anchor="ctr"/>
          <a:lstStyle/>
          <a:p>
            <a:pPr algn="ctr" defTabSz="495051"/>
            <a:endParaRPr lang="ru-RU">
              <a:solidFill>
                <a:prstClr val="white"/>
              </a:solidFill>
            </a:endParaRPr>
          </a:p>
        </p:txBody>
      </p:sp>
      <p:sp>
        <p:nvSpPr>
          <p:cNvPr id="86" name="Крест 85"/>
          <p:cNvSpPr/>
          <p:nvPr/>
        </p:nvSpPr>
        <p:spPr>
          <a:xfrm>
            <a:off x="7405154" y="4376241"/>
            <a:ext cx="288758" cy="282368"/>
          </a:xfrm>
          <a:prstGeom prst="plus">
            <a:avLst>
              <a:gd name="adj" fmla="val 3834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5" tIns="45658" rIns="91315" bIns="45658" spcCol="0" rtlCol="0" anchor="ctr"/>
          <a:lstStyle/>
          <a:p>
            <a:pPr algn="ctr" defTabSz="495051"/>
            <a:endParaRPr lang="ru-RU">
              <a:solidFill>
                <a:prstClr val="white"/>
              </a:solidFill>
            </a:endParaRPr>
          </a:p>
        </p:txBody>
      </p:sp>
      <p:sp>
        <p:nvSpPr>
          <p:cNvPr id="87" name="Крест 86"/>
          <p:cNvSpPr/>
          <p:nvPr/>
        </p:nvSpPr>
        <p:spPr>
          <a:xfrm>
            <a:off x="9145420" y="3765283"/>
            <a:ext cx="288758" cy="282368"/>
          </a:xfrm>
          <a:prstGeom prst="plus">
            <a:avLst>
              <a:gd name="adj" fmla="val 3834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5" tIns="45658" rIns="91315" bIns="45658" spcCol="0" rtlCol="0" anchor="ctr"/>
          <a:lstStyle/>
          <a:p>
            <a:pPr algn="ctr" defTabSz="495051"/>
            <a:endParaRPr lang="ru-RU">
              <a:solidFill>
                <a:prstClr val="white"/>
              </a:solidFill>
            </a:endParaRPr>
          </a:p>
        </p:txBody>
      </p:sp>
      <p:sp>
        <p:nvSpPr>
          <p:cNvPr id="88" name="Крест 87"/>
          <p:cNvSpPr/>
          <p:nvPr/>
        </p:nvSpPr>
        <p:spPr>
          <a:xfrm>
            <a:off x="9145420" y="3192272"/>
            <a:ext cx="288758" cy="282368"/>
          </a:xfrm>
          <a:prstGeom prst="plus">
            <a:avLst>
              <a:gd name="adj" fmla="val 3834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5" tIns="45658" rIns="91315" bIns="45658" spcCol="0" rtlCol="0" anchor="ctr"/>
          <a:lstStyle/>
          <a:p>
            <a:pPr algn="ctr" defTabSz="495051"/>
            <a:endParaRPr lang="ru-RU">
              <a:solidFill>
                <a:prstClr val="white"/>
              </a:solidFill>
            </a:endParaRPr>
          </a:p>
        </p:txBody>
      </p:sp>
      <p:sp>
        <p:nvSpPr>
          <p:cNvPr id="89" name="Крест 88"/>
          <p:cNvSpPr/>
          <p:nvPr/>
        </p:nvSpPr>
        <p:spPr>
          <a:xfrm>
            <a:off x="9139522" y="4887607"/>
            <a:ext cx="288758" cy="282368"/>
          </a:xfrm>
          <a:prstGeom prst="plus">
            <a:avLst>
              <a:gd name="adj" fmla="val 3834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5" tIns="45658" rIns="91315" bIns="45658" spcCol="0" rtlCol="0" anchor="ctr"/>
          <a:lstStyle/>
          <a:p>
            <a:pPr algn="ctr" defTabSz="495051"/>
            <a:endParaRPr lang="ru-RU">
              <a:solidFill>
                <a:prstClr val="white"/>
              </a:solidFill>
            </a:endParaRPr>
          </a:p>
        </p:txBody>
      </p:sp>
      <p:sp>
        <p:nvSpPr>
          <p:cNvPr id="90" name="Крест 89"/>
          <p:cNvSpPr/>
          <p:nvPr/>
        </p:nvSpPr>
        <p:spPr>
          <a:xfrm>
            <a:off x="9138869" y="5871034"/>
            <a:ext cx="288758" cy="282368"/>
          </a:xfrm>
          <a:prstGeom prst="plus">
            <a:avLst>
              <a:gd name="adj" fmla="val 3834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5" tIns="45658" rIns="91315" bIns="45658" spcCol="0" rtlCol="0" anchor="ctr"/>
          <a:lstStyle/>
          <a:p>
            <a:pPr algn="ctr" defTabSz="495051"/>
            <a:endParaRPr lang="ru-RU">
              <a:solidFill>
                <a:prstClr val="white"/>
              </a:solidFill>
            </a:endParaRPr>
          </a:p>
        </p:txBody>
      </p:sp>
      <p:sp>
        <p:nvSpPr>
          <p:cNvPr id="91" name="Крест 90"/>
          <p:cNvSpPr/>
          <p:nvPr/>
        </p:nvSpPr>
        <p:spPr>
          <a:xfrm>
            <a:off x="9139522" y="5403239"/>
            <a:ext cx="288758" cy="282368"/>
          </a:xfrm>
          <a:prstGeom prst="plus">
            <a:avLst>
              <a:gd name="adj" fmla="val 3834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5" tIns="45658" rIns="91315" bIns="45658" spcCol="0" rtlCol="0" anchor="ctr"/>
          <a:lstStyle/>
          <a:p>
            <a:pPr algn="ctr" defTabSz="495051"/>
            <a:endParaRPr lang="ru-RU">
              <a:solidFill>
                <a:prstClr val="white"/>
              </a:solidFill>
            </a:endParaRPr>
          </a:p>
        </p:txBody>
      </p:sp>
      <p:sp>
        <p:nvSpPr>
          <p:cNvPr id="92" name="Крест 91"/>
          <p:cNvSpPr/>
          <p:nvPr/>
        </p:nvSpPr>
        <p:spPr>
          <a:xfrm>
            <a:off x="9138869" y="4384283"/>
            <a:ext cx="288758" cy="282368"/>
          </a:xfrm>
          <a:prstGeom prst="plus">
            <a:avLst>
              <a:gd name="adj" fmla="val 3834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5" tIns="45658" rIns="91315" bIns="45658" spcCol="0" rtlCol="0" anchor="ctr"/>
          <a:lstStyle/>
          <a:p>
            <a:pPr algn="ctr" defTabSz="495051"/>
            <a:endParaRPr lang="ru-RU">
              <a:solidFill>
                <a:prstClr val="white"/>
              </a:solidFill>
            </a:endParaRPr>
          </a:p>
        </p:txBody>
      </p:sp>
      <p:sp>
        <p:nvSpPr>
          <p:cNvPr id="93" name="Крест 92"/>
          <p:cNvSpPr/>
          <p:nvPr/>
        </p:nvSpPr>
        <p:spPr>
          <a:xfrm>
            <a:off x="9150091" y="2659409"/>
            <a:ext cx="288758" cy="282368"/>
          </a:xfrm>
          <a:prstGeom prst="plus">
            <a:avLst>
              <a:gd name="adj" fmla="val 3834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5" tIns="45658" rIns="91315" bIns="45658" spcCol="0" rtlCol="0" anchor="ctr"/>
          <a:lstStyle/>
          <a:p>
            <a:pPr algn="ctr" defTabSz="495051"/>
            <a:endParaRPr lang="ru-RU">
              <a:solidFill>
                <a:prstClr val="white"/>
              </a:solidFill>
            </a:endParaRPr>
          </a:p>
        </p:txBody>
      </p:sp>
      <p:sp>
        <p:nvSpPr>
          <p:cNvPr id="94" name="Крест 93"/>
          <p:cNvSpPr/>
          <p:nvPr/>
        </p:nvSpPr>
        <p:spPr>
          <a:xfrm>
            <a:off x="9154762" y="2165111"/>
            <a:ext cx="288758" cy="282368"/>
          </a:xfrm>
          <a:prstGeom prst="plus">
            <a:avLst>
              <a:gd name="adj" fmla="val 3834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5" tIns="45658" rIns="91315" bIns="45658" spcCol="0" rtlCol="0" anchor="ctr"/>
          <a:lstStyle/>
          <a:p>
            <a:pPr algn="ctr" defTabSz="495051"/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6184" y="1241206"/>
            <a:ext cx="3464531" cy="303979"/>
          </a:xfrm>
          <a:prstGeom prst="rect">
            <a:avLst/>
          </a:prstGeom>
        </p:spPr>
      </p:pic>
      <p:sp>
        <p:nvSpPr>
          <p:cNvPr id="98" name="TextBox 97"/>
          <p:cNvSpPr txBox="1"/>
          <p:nvPr>
            <p:custDataLst>
              <p:tags r:id="rId7"/>
            </p:custDataLst>
          </p:nvPr>
        </p:nvSpPr>
        <p:spPr>
          <a:xfrm>
            <a:off x="3629763" y="1221934"/>
            <a:ext cx="838370" cy="369172"/>
          </a:xfrm>
          <a:prstGeom prst="rect">
            <a:avLst/>
          </a:prstGeom>
          <a:noFill/>
        </p:spPr>
        <p:txBody>
          <a:bodyPr wrap="none" lIns="91281" tIns="45641" rIns="91281" bIns="45641" rtlCol="0">
            <a:spAutoFit/>
          </a:bodyPr>
          <a:lstStyle/>
          <a:p>
            <a:r>
              <a:rPr lang="ru-RU" sz="1800" b="1" dirty="0" smtClean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941</a:t>
            </a:r>
            <a:endParaRPr lang="ru-RU" sz="1800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8"/>
            </p:custDataLst>
          </p:nvPr>
        </p:nvSpPr>
        <p:spPr>
          <a:xfrm>
            <a:off x="7001377" y="1225515"/>
            <a:ext cx="1102866" cy="369172"/>
          </a:xfrm>
          <a:prstGeom prst="rect">
            <a:avLst/>
          </a:prstGeom>
          <a:noFill/>
        </p:spPr>
        <p:txBody>
          <a:bodyPr wrap="none" lIns="91281" tIns="45641" rIns="91281" bIns="45641" rtlCol="0">
            <a:spAutoFit/>
          </a:bodyPr>
          <a:lstStyle/>
          <a:p>
            <a:r>
              <a:rPr lang="ru-RU" sz="1800" b="1" dirty="0" smtClean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990-е</a:t>
            </a:r>
            <a:endParaRPr lang="ru-RU" sz="1800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3" name="Рисунок 10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7115" y="1241205"/>
            <a:ext cx="3464531" cy="303979"/>
          </a:xfrm>
          <a:prstGeom prst="rect">
            <a:avLst/>
          </a:prstGeom>
        </p:spPr>
      </p:pic>
      <p:sp>
        <p:nvSpPr>
          <p:cNvPr id="104" name="TextBox 103"/>
          <p:cNvSpPr txBox="1"/>
          <p:nvPr>
            <p:custDataLst>
              <p:tags r:id="rId9"/>
            </p:custDataLst>
          </p:nvPr>
        </p:nvSpPr>
        <p:spPr>
          <a:xfrm>
            <a:off x="8710022" y="1225515"/>
            <a:ext cx="1102866" cy="369172"/>
          </a:xfrm>
          <a:prstGeom prst="rect">
            <a:avLst/>
          </a:prstGeom>
          <a:noFill/>
        </p:spPr>
        <p:txBody>
          <a:bodyPr wrap="none" lIns="91281" tIns="45641" rIns="91281" bIns="45641" rtlCol="0">
            <a:spAutoFit/>
          </a:bodyPr>
          <a:lstStyle/>
          <a:p>
            <a:r>
              <a:rPr lang="ru-RU" sz="1800" b="1" dirty="0" smtClean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00-е</a:t>
            </a:r>
            <a:endParaRPr lang="ru-RU" sz="1800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1250" name="Picture 50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25" y="1541967"/>
            <a:ext cx="557803" cy="557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3" name="TextBox 62"/>
          <p:cNvSpPr txBox="1"/>
          <p:nvPr/>
        </p:nvSpPr>
        <p:spPr>
          <a:xfrm>
            <a:off x="810896" y="1541967"/>
            <a:ext cx="1994385" cy="584765"/>
          </a:xfrm>
          <a:prstGeom prst="rect">
            <a:avLst/>
          </a:prstGeom>
          <a:noFill/>
        </p:spPr>
        <p:txBody>
          <a:bodyPr wrap="square" lIns="91428" tIns="45715" rIns="91428" bIns="45715" rtlCol="0">
            <a:spAutoFit/>
          </a:bodyPr>
          <a:lstStyle/>
          <a:p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ооруженное сопровождение</a:t>
            </a:r>
            <a:endParaRPr lang="ru-RU" sz="1600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1252" name="Picture 52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4762" y="1693855"/>
            <a:ext cx="292100" cy="280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04568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1276"/>
    </mc:Choice>
    <mc:Fallback xmlns="">
      <p:transition advTm="21276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8" name="Picture 6" descr="C:\Users\N.Giniyatullina\Documents\Work\Презентации\сэ_инфорграфика\pict\map1.gif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9138" y="1668357"/>
            <a:ext cx="7559073" cy="4209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C:\Users\N.Giniyatullina\Documents\Work\Презентации\сэ_инфорграфика\полоса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" y="239609"/>
            <a:ext cx="10146623" cy="889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Объект 11"/>
          <p:cNvSpPr>
            <a:spLocks noGrp="1"/>
          </p:cNvSpPr>
          <p:nvPr>
            <p:ph idx="1"/>
          </p:nvPr>
        </p:nvSpPr>
        <p:spPr>
          <a:xfrm>
            <a:off x="3466226" y="1901873"/>
            <a:ext cx="3249884" cy="665018"/>
          </a:xfrm>
        </p:spPr>
        <p:txBody>
          <a:bodyPr numCol="2">
            <a:noAutofit/>
          </a:bodyPr>
          <a:lstStyle/>
          <a:p>
            <a:pPr marL="0" indent="0" algn="r">
              <a:buNone/>
            </a:pP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1</a:t>
            </a:r>
            <a:br>
              <a:rPr lang="ru-RU" sz="1800" b="1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правлений</a:t>
            </a:r>
          </a:p>
          <a:p>
            <a:pPr marL="0" indent="0" algn="r">
              <a:buNone/>
            </a:pP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80</a:t>
            </a:r>
            <a:br>
              <a:rPr lang="ru-RU" sz="1800" b="1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тделений</a:t>
            </a:r>
          </a:p>
        </p:txBody>
      </p:sp>
      <p:sp>
        <p:nvSpPr>
          <p:cNvPr id="46" name="Объект 11"/>
          <p:cNvSpPr txBox="1">
            <a:spLocks/>
          </p:cNvSpPr>
          <p:nvPr/>
        </p:nvSpPr>
        <p:spPr bwMode="auto">
          <a:xfrm>
            <a:off x="610936" y="5092003"/>
            <a:ext cx="3740367" cy="1119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391" tIns="49694" rIns="99391" bIns="49694" numCol="1" anchor="t" anchorCtr="0" compatLnSpc="1">
            <a:prstTxWarp prst="textNoShape">
              <a:avLst/>
            </a:prstTxWarp>
          </a:bodyPr>
          <a:lstStyle>
            <a:lvl1pPr marL="373063" indent="-373063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08038" indent="-309563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43013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41488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238375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737645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399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52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06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олее </a:t>
            </a: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 200 </a:t>
            </a:r>
            <a:br>
              <a:rPr lang="ru-RU" sz="1800" b="1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гулярных </a:t>
            </a:r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аршрутов </a:t>
            </a:r>
          </a:p>
          <a:p>
            <a:pPr marL="0" indent="0">
              <a:buNone/>
            </a:pPr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авиа </a:t>
            </a:r>
            <a:r>
              <a:rPr lang="ru-RU" sz="1800" dirty="0" err="1" smtClean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жд</a:t>
            </a:r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вто)</a:t>
            </a:r>
          </a:p>
        </p:txBody>
      </p:sp>
      <p:sp>
        <p:nvSpPr>
          <p:cNvPr id="41" name="Объект 11"/>
          <p:cNvSpPr txBox="1">
            <a:spLocks/>
          </p:cNvSpPr>
          <p:nvPr/>
        </p:nvSpPr>
        <p:spPr bwMode="auto">
          <a:xfrm>
            <a:off x="2774366" y="6078077"/>
            <a:ext cx="4402996" cy="638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391" tIns="49694" rIns="99391" bIns="49694" numCol="1" anchor="t" anchorCtr="0" compatLnSpc="1">
            <a:prstTxWarp prst="textNoShape">
              <a:avLst/>
            </a:prstTxWarp>
          </a:bodyPr>
          <a:lstStyle>
            <a:lvl1pPr marL="373063" indent="-373063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08038" indent="-309563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43013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41488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238375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737645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399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52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06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ункт </a:t>
            </a: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пециальной связи </a:t>
            </a:r>
            <a:endParaRPr lang="en-US" sz="1800" dirty="0" smtClean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 algn="r">
              <a:buNone/>
            </a:pPr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 </a:t>
            </a: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айконуре</a:t>
            </a:r>
            <a:endParaRPr lang="ru-RU" sz="1800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Box 23"/>
          <p:cNvSpPr txBox="1"/>
          <p:nvPr>
            <p:custDataLst>
              <p:tags r:id="rId1"/>
            </p:custDataLst>
          </p:nvPr>
        </p:nvSpPr>
        <p:spPr>
          <a:xfrm>
            <a:off x="450382" y="476475"/>
            <a:ext cx="5089534" cy="415339"/>
          </a:xfrm>
          <a:prstGeom prst="rect">
            <a:avLst/>
          </a:prstGeom>
          <a:noFill/>
        </p:spPr>
        <p:txBody>
          <a:bodyPr wrap="none" lIns="91281" tIns="45641" rIns="91281" bIns="45641" rtlCol="0">
            <a:spAutoFit/>
          </a:bodyPr>
          <a:lstStyle/>
          <a:p>
            <a:r>
              <a:rPr lang="ru-RU" b="1" dirty="0" smtClean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ИЛЫ И СРЕДСТВА СПЕЦСВЯЗИ</a:t>
            </a:r>
            <a:endParaRPr lang="ru-RU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052" name="Picture 4" descr="C:\Users\N.Giniyatullina\Documents\Work\Презентации\сэ_инфорграфика\pict\rocket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1303" y="1901887"/>
            <a:ext cx="5652149" cy="4967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4578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C:\Users\N.Giniyatullina\Documents\Work\Презентации\сэ_инфорграфика\полоса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" y="239609"/>
            <a:ext cx="10146623" cy="889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Объект 11"/>
          <p:cNvSpPr txBox="1">
            <a:spLocks/>
          </p:cNvSpPr>
          <p:nvPr/>
        </p:nvSpPr>
        <p:spPr bwMode="auto">
          <a:xfrm>
            <a:off x="7746330" y="1917675"/>
            <a:ext cx="1892970" cy="18953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391" tIns="49694" rIns="99391" bIns="49694" numCol="1" anchor="t" anchorCtr="0" compatLnSpc="1">
            <a:prstTxWarp prst="textNoShape">
              <a:avLst/>
            </a:prstTxWarp>
          </a:bodyPr>
          <a:lstStyle>
            <a:lvl1pPr marL="373063" indent="-373063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08038" indent="-309563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43013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41488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238375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737645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399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52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06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</a:t>
            </a: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 000 </a:t>
            </a:r>
            <a:endParaRPr lang="en-US" sz="1800" b="1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 algn="ctr">
              <a:buNone/>
            </a:pP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</a:t>
            </a:r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трудников</a:t>
            </a: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прошедших </a:t>
            </a:r>
            <a:endParaRPr lang="en-US" sz="1800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 algn="ctr">
              <a:buNone/>
            </a:pP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пециальную проверку и</a:t>
            </a:r>
            <a:endParaRPr lang="en-US" sz="1800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 algn="ctr">
              <a:buNone/>
            </a:pP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дготовку</a:t>
            </a:r>
            <a:endParaRPr lang="ru-RU" sz="1800" b="1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 algn="ctr">
              <a:buNone/>
            </a:pPr>
            <a:endParaRPr lang="ru-RU" sz="1800" b="1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050" name="Picture 2" descr="C:\Users\N.Giniyatullina\Documents\Work\Презентации\сэ_инфорграфика\pict\Armory04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3587" y="4556098"/>
            <a:ext cx="5055729" cy="2487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Объект 11"/>
          <p:cNvSpPr txBox="1">
            <a:spLocks/>
          </p:cNvSpPr>
          <p:nvPr/>
        </p:nvSpPr>
        <p:spPr bwMode="auto">
          <a:xfrm>
            <a:off x="1671322" y="5204563"/>
            <a:ext cx="2647942" cy="119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391" tIns="49694" rIns="99391" bIns="49694" numCol="1" anchor="t" anchorCtr="0" compatLnSpc="1">
            <a:prstTxWarp prst="textNoShape">
              <a:avLst/>
            </a:prstTxWarp>
          </a:bodyPr>
          <a:lstStyle>
            <a:lvl1pPr marL="373063" indent="-373063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08038" indent="-309563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43013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41488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238375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737645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399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52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06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 000 </a:t>
            </a:r>
            <a:endParaRPr lang="en-US" sz="1800" b="1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</a:t>
            </a:r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иниц </a:t>
            </a: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оевого стрелкового оружия и спецсредств</a:t>
            </a:r>
          </a:p>
        </p:txBody>
      </p:sp>
      <p:sp>
        <p:nvSpPr>
          <p:cNvPr id="24" name="TextBox 23"/>
          <p:cNvSpPr txBox="1"/>
          <p:nvPr>
            <p:custDataLst>
              <p:tags r:id="rId1"/>
            </p:custDataLst>
          </p:nvPr>
        </p:nvSpPr>
        <p:spPr>
          <a:xfrm>
            <a:off x="450382" y="476475"/>
            <a:ext cx="5089534" cy="415339"/>
          </a:xfrm>
          <a:prstGeom prst="rect">
            <a:avLst/>
          </a:prstGeom>
          <a:noFill/>
        </p:spPr>
        <p:txBody>
          <a:bodyPr wrap="none" lIns="91281" tIns="45641" rIns="91281" bIns="45641" rtlCol="0">
            <a:spAutoFit/>
          </a:bodyPr>
          <a:lstStyle/>
          <a:p>
            <a:r>
              <a:rPr lang="ru-RU" b="1" dirty="0" smtClean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ИЛЫ И СРЕДСТВА СПЕЦСВЯЗИ</a:t>
            </a:r>
            <a:endParaRPr lang="ru-RU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2779" y="1435367"/>
            <a:ext cx="7431778" cy="2860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1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 flipH="1">
            <a:off x="3174768" y="2792516"/>
            <a:ext cx="7513885" cy="5413200"/>
            <a:chOff x="0" y="987979"/>
            <a:chExt cx="5736354" cy="3411064"/>
          </a:xfrm>
        </p:grpSpPr>
        <p:pic>
          <p:nvPicPr>
            <p:cNvPr id="4100" name="Picture 4" descr="C:\Users\N.Giniyatullina\Documents\Work\Видеоролик\CCCB-PROJEKT\CCCB\Blender Render\Cars\Truck\Truck_0001.png"/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0" y="987979"/>
              <a:ext cx="3468088" cy="32976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98" name="Picture 2" descr="C:\Users\N.Giniyatullina\Documents\Work\Видеоролик\CCCB-PROJEKT\CCCB\Blender Render\Cars\Ambulance\Ambluance_0001.pn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2051" y="1892692"/>
              <a:ext cx="2160000" cy="21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1" name="Picture 5" descr="C:\Users\N.Giniyatullina\Documents\Work\Видеоролик\CCCB-PROJEKT\CCCB\Blender Render\Cars\Ftrans\ftrans_0001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0050" y="2004791"/>
              <a:ext cx="2124000" cy="21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99" name="Picture 3" descr="C:\Users\N.Giniyatullina\Documents\Work\Видеоролик\CCCB-PROJEKT\CCCB\Blender Render\Cars\Focus02\Focus_0001.png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6354" y="1879043"/>
              <a:ext cx="2520000" cy="25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9" name="Picture 2" descr="C:\Users\N.Giniyatullina\Documents\Work\Презентации\сэ_инфорграфика\полоса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" y="239609"/>
            <a:ext cx="10146623" cy="889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:\Users\N.Giniyatullina\Documents\Work\Презентации\сэ_инфорграфика\pict\Bank_0011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073" y="1390825"/>
            <a:ext cx="5579118" cy="3748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Объект 11"/>
          <p:cNvSpPr>
            <a:spLocks noGrp="1"/>
          </p:cNvSpPr>
          <p:nvPr>
            <p:ph idx="1"/>
          </p:nvPr>
        </p:nvSpPr>
        <p:spPr>
          <a:xfrm>
            <a:off x="4919903" y="3276179"/>
            <a:ext cx="2451978" cy="665018"/>
          </a:xfrm>
        </p:spPr>
        <p:txBody>
          <a:bodyPr numCol="1">
            <a:normAutofit/>
          </a:bodyPr>
          <a:lstStyle/>
          <a:p>
            <a:pPr marL="0" indent="0" algn="r">
              <a:buNone/>
            </a:pP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3 000 </a:t>
            </a: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диниц автотранспорта</a:t>
            </a:r>
          </a:p>
        </p:txBody>
      </p:sp>
      <p:sp>
        <p:nvSpPr>
          <p:cNvPr id="46" name="Объект 11"/>
          <p:cNvSpPr txBox="1">
            <a:spLocks/>
          </p:cNvSpPr>
          <p:nvPr/>
        </p:nvSpPr>
        <p:spPr bwMode="auto">
          <a:xfrm>
            <a:off x="3970793" y="1193826"/>
            <a:ext cx="3263574" cy="827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391" tIns="49694" rIns="99391" bIns="49694" numCol="1" anchor="t" anchorCtr="0" compatLnSpc="1">
            <a:prstTxWarp prst="textNoShape">
              <a:avLst/>
            </a:prstTxWarp>
          </a:bodyPr>
          <a:lstStyle>
            <a:lvl1pPr marL="373063" indent="-373063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08038" indent="-309563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43013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41488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238375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737645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399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52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06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пециализированные хранилища</a:t>
            </a:r>
          </a:p>
        </p:txBody>
      </p:sp>
      <p:sp>
        <p:nvSpPr>
          <p:cNvPr id="41" name="Объект 11"/>
          <p:cNvSpPr txBox="1">
            <a:spLocks/>
          </p:cNvSpPr>
          <p:nvPr/>
        </p:nvSpPr>
        <p:spPr bwMode="auto">
          <a:xfrm>
            <a:off x="4849273" y="4086949"/>
            <a:ext cx="3252719" cy="638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391" tIns="49694" rIns="99391" bIns="49694" numCol="1" anchor="t" anchorCtr="0" compatLnSpc="1">
            <a:prstTxWarp prst="textNoShape">
              <a:avLst/>
            </a:prstTxWarp>
          </a:bodyPr>
          <a:lstStyle>
            <a:lvl1pPr marL="373063" indent="-373063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08038" indent="-309563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43013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41488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238375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737645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399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52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06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зличной грузоподъемности</a:t>
            </a:r>
          </a:p>
        </p:txBody>
      </p:sp>
      <p:sp>
        <p:nvSpPr>
          <p:cNvPr id="45" name="Объект 11"/>
          <p:cNvSpPr txBox="1">
            <a:spLocks/>
          </p:cNvSpPr>
          <p:nvPr/>
        </p:nvSpPr>
        <p:spPr bwMode="auto">
          <a:xfrm>
            <a:off x="476252" y="4661543"/>
            <a:ext cx="4672511" cy="478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391" tIns="49694" rIns="99391" bIns="49694" numCol="1" anchor="t" anchorCtr="0" compatLnSpc="1">
            <a:prstTxWarp prst="textNoShape">
              <a:avLst/>
            </a:prstTxWarp>
          </a:bodyPr>
          <a:lstStyle>
            <a:lvl1pPr marL="373063" indent="-373063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08038" indent="-309563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43013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41488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238375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737645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399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52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06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ертифицированные </a:t>
            </a:r>
            <a:b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 высшему классу </a:t>
            </a:r>
            <a:endParaRPr lang="en-US" sz="1800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дежности</a:t>
            </a:r>
            <a:endParaRPr lang="ru-RU" sz="1800" b="1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extBox 26"/>
          <p:cNvSpPr txBox="1"/>
          <p:nvPr>
            <p:custDataLst>
              <p:tags r:id="rId1"/>
            </p:custDataLst>
          </p:nvPr>
        </p:nvSpPr>
        <p:spPr>
          <a:xfrm>
            <a:off x="450382" y="476475"/>
            <a:ext cx="5089534" cy="415339"/>
          </a:xfrm>
          <a:prstGeom prst="rect">
            <a:avLst/>
          </a:prstGeom>
          <a:noFill/>
        </p:spPr>
        <p:txBody>
          <a:bodyPr wrap="none" lIns="91281" tIns="45641" rIns="91281" bIns="45641" rtlCol="0">
            <a:spAutoFit/>
          </a:bodyPr>
          <a:lstStyle/>
          <a:p>
            <a:r>
              <a:rPr lang="ru-RU" b="1" dirty="0" smtClean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ИЛЫ И СРЕДСТВА СПЕЦСВЯЗИ</a:t>
            </a:r>
            <a:endParaRPr lang="ru-RU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Объект 11"/>
          <p:cNvSpPr txBox="1">
            <a:spLocks/>
          </p:cNvSpPr>
          <p:nvPr/>
        </p:nvSpPr>
        <p:spPr>
          <a:xfrm>
            <a:off x="7694646" y="2625474"/>
            <a:ext cx="2451978" cy="1626932"/>
          </a:xfrm>
          <a:prstGeom prst="rect">
            <a:avLst/>
          </a:prstGeom>
        </p:spPr>
        <p:txBody>
          <a:bodyPr vert="horz" lIns="104108" tIns="52052" rIns="104108" bIns="52052" numCol="1" rtlCol="0">
            <a:noAutofit/>
          </a:bodyPr>
          <a:lstStyle>
            <a:lvl1pPr marL="391028" indent="-391028" algn="l" defTabSz="10427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847230" indent="-325858" algn="l" defTabSz="1042744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303431" indent="-260685" algn="l" defTabSz="10427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1824802" indent="-260685" algn="l" defTabSz="1042744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2346175" indent="-260685" algn="l" defTabSz="10427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867547" indent="-260685" algn="l" defTabSz="1042744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6pPr>
            <a:lvl7pPr marL="3388919" indent="-260685" algn="l" defTabSz="10427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7pPr>
            <a:lvl8pPr marL="3910291" indent="-260685" algn="l" defTabSz="1042744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8pPr>
            <a:lvl9pPr marL="4431663" indent="-260685" algn="l" defTabSz="10427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r" fontAlgn="auto">
              <a:spcAft>
                <a:spcPts val="0"/>
              </a:spcAft>
              <a:buNone/>
            </a:pP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новление автопарка </a:t>
            </a:r>
          </a:p>
          <a:p>
            <a:pPr marL="0" indent="0" algn="r" fontAlgn="auto">
              <a:spcAft>
                <a:spcPts val="0"/>
              </a:spcAft>
              <a:buNone/>
            </a:pP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через </a:t>
            </a:r>
          </a:p>
          <a:p>
            <a:pPr marL="0" indent="0" algn="r" fontAlgn="auto">
              <a:spcAft>
                <a:spcPts val="0"/>
              </a:spcAft>
              <a:buNone/>
            </a:pP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ждые </a:t>
            </a:r>
          </a:p>
          <a:p>
            <a:pPr marL="0" indent="0" algn="r" fontAlgn="auto">
              <a:spcAft>
                <a:spcPts val="0"/>
              </a:spcAft>
              <a:buNone/>
            </a:pP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 лет</a:t>
            </a:r>
          </a:p>
        </p:txBody>
      </p:sp>
    </p:spTree>
    <p:extLst>
      <p:ext uri="{BB962C8B-B14F-4D97-AF65-F5344CB8AC3E}">
        <p14:creationId xmlns:p14="http://schemas.microsoft.com/office/powerpoint/2010/main" val="1325489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advTm="14565">
        <p14:reveal dir="r"/>
      </p:transition>
    </mc:Choice>
    <mc:Fallback xmlns="">
      <p:transition spd="slow" advTm="14565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3590222"/>
              </p:ext>
            </p:extLst>
          </p:nvPr>
        </p:nvGraphicFramePr>
        <p:xfrm>
          <a:off x="3" y="4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" y="4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3" y="4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>
              <a:solidFill>
                <a:prstClr val="white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pic>
        <p:nvPicPr>
          <p:cNvPr id="2" name="Picture 2" descr="C:\Users\N.Giniyatullina\Documents\Work\Презентации\сэ_инфорграфика\полоса.pn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" y="239630"/>
            <a:ext cx="10146623" cy="889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>
            <p:custDataLst>
              <p:tags r:id="rId5"/>
            </p:custDataLst>
          </p:nvPr>
        </p:nvSpPr>
        <p:spPr>
          <a:xfrm>
            <a:off x="450389" y="476475"/>
            <a:ext cx="7697620" cy="415339"/>
          </a:xfrm>
          <a:prstGeom prst="rect">
            <a:avLst/>
          </a:prstGeom>
          <a:noFill/>
        </p:spPr>
        <p:txBody>
          <a:bodyPr wrap="none" lIns="91281" tIns="45641" rIns="91281" bIns="45641" rtlCol="0">
            <a:spAutoFit/>
          </a:bodyPr>
          <a:lstStyle/>
          <a:p>
            <a:r>
              <a:rPr lang="ru-RU" b="1" dirty="0" smtClean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НИКАЛЬНОСТЬ СПЕЦСВЯЗИ</a:t>
            </a:r>
            <a:r>
              <a:rPr lang="en-US" b="1" dirty="0" smtClean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</a:t>
            </a:r>
            <a:r>
              <a:rPr lang="ru-RU" b="1" dirty="0" smtClean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ПЕРАТИВНОСТЬ</a:t>
            </a:r>
            <a:endParaRPr lang="ru-RU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6" name="Picture 3" descr="C:\Users\N.Giniyatullina\Documents\Work\Презентации\сэ_инфорграфика\pict\plane_car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293" y="4199212"/>
            <a:ext cx="1774255" cy="13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Прямоугольник 18"/>
          <p:cNvSpPr/>
          <p:nvPr/>
        </p:nvSpPr>
        <p:spPr>
          <a:xfrm>
            <a:off x="2982398" y="5931781"/>
            <a:ext cx="6690404" cy="646331"/>
          </a:xfrm>
          <a:prstGeom prst="rect">
            <a:avLst/>
          </a:prstGeom>
        </p:spPr>
        <p:txBody>
          <a:bodyPr wrap="square" lIns="91292" tIns="45646" rIns="91292" bIns="45646">
            <a:spAutoFit/>
          </a:bodyPr>
          <a:lstStyle/>
          <a:p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перативное получение специальных разрешений на перевозку спец грузов</a:t>
            </a:r>
          </a:p>
        </p:txBody>
      </p:sp>
      <p:sp>
        <p:nvSpPr>
          <p:cNvPr id="21" name="Объект 11"/>
          <p:cNvSpPr txBox="1">
            <a:spLocks/>
          </p:cNvSpPr>
          <p:nvPr/>
        </p:nvSpPr>
        <p:spPr bwMode="auto">
          <a:xfrm>
            <a:off x="2982413" y="1419771"/>
            <a:ext cx="7164245" cy="5078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172" tIns="49580" rIns="99172" bIns="49580" numCol="1" anchor="t" anchorCtr="0" compatLnSpc="1">
            <a:prstTxWarp prst="textNoShape">
              <a:avLst/>
            </a:prstTxWarp>
          </a:bodyPr>
          <a:lstStyle>
            <a:lvl1pPr marL="373063" indent="-373063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08038" indent="-309563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43013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41488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238375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737645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399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52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06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соответствии с постановлением Правительства РФ </a:t>
            </a:r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от 15.12.1994 №1379-68  </a:t>
            </a: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лжностные лица на территории РФ  оказывают  </a:t>
            </a:r>
            <a:r>
              <a:rPr lang="ru-RU" sz="1800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семерное содействие </a:t>
            </a: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трудникам </a:t>
            </a:r>
            <a:r>
              <a:rPr lang="ru-RU" sz="1800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пецсвязи</a:t>
            </a: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при выполнении служебных заданий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459" y="1165980"/>
            <a:ext cx="2707955" cy="1523225"/>
          </a:xfrm>
          <a:prstGeom prst="rect">
            <a:avLst/>
          </a:prstGeom>
        </p:spPr>
      </p:pic>
      <p:grpSp>
        <p:nvGrpSpPr>
          <p:cNvPr id="23" name="Группа 22"/>
          <p:cNvGrpSpPr/>
          <p:nvPr/>
        </p:nvGrpSpPr>
        <p:grpSpPr>
          <a:xfrm>
            <a:off x="421661" y="2668878"/>
            <a:ext cx="2413519" cy="1638748"/>
            <a:chOff x="0" y="987979"/>
            <a:chExt cx="5157108" cy="3411065"/>
          </a:xfrm>
        </p:grpSpPr>
        <p:pic>
          <p:nvPicPr>
            <p:cNvPr id="24" name="Picture 4" descr="C:\Users\N.Giniyatullina\Documents\Work\Видеоролик\CCCB-PROJEKT\CCCB\Blender Render\Cars\Truck\Truck_0001.png"/>
            <p:cNvPicPr>
              <a:picLocks noChangeAspect="1" noChangeArrowheads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0" y="987979"/>
              <a:ext cx="3468088" cy="32976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C:\Users\N.Giniyatullina\Documents\Work\Видеоролик\CCCB-PROJEKT\CCCB\Blender Render\Cars\Ambulance\Ambluance_0001.png"/>
            <p:cNvPicPr>
              <a:picLocks noChangeAspect="1" noChangeArrowheads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1303" y="1892692"/>
              <a:ext cx="2160000" cy="21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5" descr="C:\Users\N.Giniyatullina\Documents\Work\Видеоролик\CCCB-PROJEKT\CCCB\Blender Render\Cars\Ftrans\ftrans_0001.png"/>
            <p:cNvPicPr>
              <a:picLocks noChangeAspect="1" noChangeArrowheads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4736" y="2004791"/>
              <a:ext cx="2124000" cy="21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3" descr="C:\Users\N.Giniyatullina\Documents\Work\Видеоролик\CCCB-PROJEKT\CCCB\Blender Render\Cars\Focus02\Focus_0001.png"/>
            <p:cNvPicPr>
              <a:picLocks noChangeAspect="1" noChangeArrowheads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37108" y="1879044"/>
              <a:ext cx="2520000" cy="25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TextBox 12"/>
          <p:cNvSpPr txBox="1"/>
          <p:nvPr/>
        </p:nvSpPr>
        <p:spPr>
          <a:xfrm>
            <a:off x="2982399" y="3021254"/>
            <a:ext cx="6949826" cy="646331"/>
          </a:xfrm>
          <a:prstGeom prst="rect">
            <a:avLst/>
          </a:prstGeom>
          <a:noFill/>
        </p:spPr>
        <p:txBody>
          <a:bodyPr wrap="square" lIns="91292" tIns="45646" rIns="91292" bIns="45646" rtlCol="0">
            <a:spAutoFit/>
          </a:bodyPr>
          <a:lstStyle/>
          <a:p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бственный автопарк, позволяющий перевозить грузы любых размеров и массы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982398" y="4464395"/>
            <a:ext cx="6879592" cy="646331"/>
          </a:xfrm>
          <a:prstGeom prst="rect">
            <a:avLst/>
          </a:prstGeom>
          <a:noFill/>
        </p:spPr>
        <p:txBody>
          <a:bodyPr wrap="square" lIns="91292" tIns="45646" rIns="91292" bIns="45646" rtlCol="0">
            <a:spAutoFit/>
          </a:bodyPr>
          <a:lstStyle/>
          <a:p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аво въезда на территорию аэропорта, минуя пункты проверок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496" y="5567212"/>
            <a:ext cx="1115850" cy="1375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376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21276"/>
    </mc:Choice>
    <mc:Fallback xmlns="">
      <p:transition advTm="21276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6645866"/>
              </p:ext>
            </p:extLst>
          </p:nvPr>
        </p:nvGraphicFramePr>
        <p:xfrm>
          <a:off x="3" y="4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2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" y="4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3" y="4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>
              <a:solidFill>
                <a:prstClr val="white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pic>
        <p:nvPicPr>
          <p:cNvPr id="2" name="Picture 2" descr="C:\Users\N.Giniyatullina\Documents\Work\Презентации\сэ_инфорграфика\полоса.pn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" y="239630"/>
            <a:ext cx="10146623" cy="889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>
            <p:custDataLst>
              <p:tags r:id="rId5"/>
            </p:custDataLst>
          </p:nvPr>
        </p:nvSpPr>
        <p:spPr>
          <a:xfrm>
            <a:off x="450383" y="476475"/>
            <a:ext cx="7473200" cy="415339"/>
          </a:xfrm>
          <a:prstGeom prst="rect">
            <a:avLst/>
          </a:prstGeom>
          <a:noFill/>
        </p:spPr>
        <p:txBody>
          <a:bodyPr wrap="none" lIns="91281" tIns="45641" rIns="91281" bIns="45641" rtlCol="0">
            <a:spAutoFit/>
          </a:bodyPr>
          <a:lstStyle/>
          <a:p>
            <a:r>
              <a:rPr lang="ru-RU" b="1" dirty="0" smtClean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НИКАЛЬНОСТЬ СПЕЦСВЯЗИ - БЕЗОПАСНОСТЬ</a:t>
            </a:r>
            <a:endParaRPr lang="ru-RU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977236" y="4498100"/>
            <a:ext cx="7844698" cy="369332"/>
          </a:xfrm>
          <a:prstGeom prst="rect">
            <a:avLst/>
          </a:prstGeom>
        </p:spPr>
        <p:txBody>
          <a:bodyPr wrap="square" lIns="91292" tIns="45646" rIns="91292" bIns="45646">
            <a:spAutoFit/>
          </a:bodyPr>
          <a:lstStyle/>
          <a:p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втопарк спецсвязи каждые 5 лет подлежит обновлению</a:t>
            </a:r>
            <a:endParaRPr lang="ru-RU" sz="1800" b="1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1977236" y="3230386"/>
            <a:ext cx="8037366" cy="923330"/>
          </a:xfrm>
          <a:prstGeom prst="rect">
            <a:avLst/>
          </a:prstGeom>
        </p:spPr>
        <p:txBody>
          <a:bodyPr wrap="square" lIns="91292" tIns="45646" rIns="91292" bIns="45646">
            <a:spAutoFit/>
          </a:bodyPr>
          <a:lstStyle/>
          <a:p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истема мониторинга, установленная на каждую единицу автопарка - позволяет отслеживать местоположение Вашего груза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22" y="3386032"/>
            <a:ext cx="612067" cy="612067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030" y="4411100"/>
            <a:ext cx="587657" cy="587657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83736">
            <a:off x="641458" y="2236862"/>
            <a:ext cx="902185" cy="902185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483" y="1492099"/>
            <a:ext cx="568138" cy="568138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1977251" y="1630549"/>
            <a:ext cx="8125393" cy="369332"/>
          </a:xfrm>
          <a:prstGeom prst="rect">
            <a:avLst/>
          </a:prstGeom>
          <a:noFill/>
        </p:spPr>
        <p:txBody>
          <a:bodyPr wrap="square" lIns="91292" tIns="45646" rIns="91292" bIns="45646" rtlCol="0">
            <a:spAutoFit/>
          </a:bodyPr>
          <a:lstStyle/>
          <a:p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ранспортные средства спецсвязи не подлежат досмотру</a:t>
            </a:r>
          </a:p>
        </p:txBody>
      </p:sp>
      <p:pic>
        <p:nvPicPr>
          <p:cNvPr id="27" name="Picture 4" descr="C:\Users\N.Giniyatullina\Documents\Work\Презентации\сэ_инфорграфика\pict\75let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79" y="5244276"/>
            <a:ext cx="977547" cy="726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Объект 11"/>
          <p:cNvSpPr txBox="1">
            <a:spLocks/>
          </p:cNvSpPr>
          <p:nvPr/>
        </p:nvSpPr>
        <p:spPr bwMode="auto">
          <a:xfrm>
            <a:off x="1977237" y="5394403"/>
            <a:ext cx="3742159" cy="519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391" tIns="49694" rIns="99391" bIns="49694" numCol="1" anchor="t" anchorCtr="0" compatLnSpc="1">
            <a:prstTxWarp prst="textNoShape">
              <a:avLst/>
            </a:prstTxWarp>
          </a:bodyPr>
          <a:lstStyle>
            <a:lvl1pPr marL="373063" indent="-373063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08038" indent="-309563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43013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41488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238375" indent="-247650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737645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399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52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06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пыт </a:t>
            </a:r>
            <a:r>
              <a:rPr lang="ru-RU" sz="180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боты </a:t>
            </a:r>
            <a:r>
              <a:rPr lang="ru-RU" sz="1800" smtClean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олее </a:t>
            </a:r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5 лет </a:t>
            </a:r>
            <a:b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ru-RU" sz="1800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977252" y="2364788"/>
            <a:ext cx="8125393" cy="646331"/>
          </a:xfrm>
          <a:prstGeom prst="rect">
            <a:avLst/>
          </a:prstGeom>
          <a:noFill/>
        </p:spPr>
        <p:txBody>
          <a:bodyPr wrap="square" lIns="91292" tIns="45646" rIns="91292" bIns="45646" rtlCol="0">
            <a:spAutoFit/>
          </a:bodyPr>
          <a:lstStyle/>
          <a:p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се сотрудники спецсвязи вооружены боевым стрелковым оружием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977242" y="6280668"/>
            <a:ext cx="4823458" cy="369182"/>
          </a:xfrm>
          <a:prstGeom prst="rect">
            <a:avLst/>
          </a:prstGeom>
        </p:spPr>
        <p:txBody>
          <a:bodyPr wrap="none" lIns="91292" tIns="45646" rIns="91292" bIns="45646">
            <a:spAutoFit/>
          </a:bodyPr>
          <a:lstStyle/>
          <a:p>
            <a:r>
              <a:rPr lang="ru-RU" sz="18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осударственный статус предприятия </a:t>
            </a:r>
            <a:endParaRPr lang="ru-RU" sz="18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913" y="6239542"/>
            <a:ext cx="699285" cy="466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191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21276"/>
    </mc:Choice>
    <mc:Fallback xmlns="">
      <p:transition advTm="21276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0935674"/>
              </p:ext>
            </p:extLst>
          </p:nvPr>
        </p:nvGraphicFramePr>
        <p:xfrm>
          <a:off x="3" y="4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1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" y="4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3" y="4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>
              <a:solidFill>
                <a:prstClr val="white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pic>
        <p:nvPicPr>
          <p:cNvPr id="2" name="Picture 2" descr="C:\Users\N.Giniyatullina\Documents\Work\Презентации\сэ_инфорграфика\полоса.pn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" y="239630"/>
            <a:ext cx="10146623" cy="889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>
            <p:custDataLst>
              <p:tags r:id="rId5"/>
            </p:custDataLst>
          </p:nvPr>
        </p:nvSpPr>
        <p:spPr>
          <a:xfrm>
            <a:off x="450388" y="476475"/>
            <a:ext cx="2960746" cy="415339"/>
          </a:xfrm>
          <a:prstGeom prst="rect">
            <a:avLst/>
          </a:prstGeom>
          <a:noFill/>
        </p:spPr>
        <p:txBody>
          <a:bodyPr wrap="none" lIns="91281" tIns="45641" rIns="91281" bIns="45641" rtlCol="0">
            <a:spAutoFit/>
          </a:bodyPr>
          <a:lstStyle/>
          <a:p>
            <a:r>
              <a:rPr lang="ru-RU" b="1" dirty="0" smtClean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ШИ ПАРТНЕРЫ</a:t>
            </a:r>
            <a:endParaRPr lang="ru-RU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27" y="1257719"/>
            <a:ext cx="1961524" cy="125358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9448" y="1280743"/>
            <a:ext cx="692665" cy="123056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705" y="6305153"/>
            <a:ext cx="3380214" cy="87376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6569" y="4054812"/>
            <a:ext cx="2570050" cy="66677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2775" y="2821730"/>
            <a:ext cx="1186012" cy="512855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2398" y="1328522"/>
            <a:ext cx="1145875" cy="1182781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0045" y="1326977"/>
            <a:ext cx="2032587" cy="1115065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3693" y="4905159"/>
            <a:ext cx="2622180" cy="1215640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0282" y="3916175"/>
            <a:ext cx="913110" cy="108775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61" y="2725572"/>
            <a:ext cx="1298055" cy="914539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9766" y="4127494"/>
            <a:ext cx="1608747" cy="777665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2391" y="2725572"/>
            <a:ext cx="3274267" cy="609013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2775" y="5304401"/>
            <a:ext cx="1808124" cy="1000752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3138" y="2621020"/>
            <a:ext cx="973032" cy="1177370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523" y="3710072"/>
            <a:ext cx="1999927" cy="1333284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524" y="5244944"/>
            <a:ext cx="3662646" cy="936590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5065" y="1364239"/>
            <a:ext cx="867115" cy="1040539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4418258" y="6838735"/>
            <a:ext cx="6270380" cy="338405"/>
          </a:xfrm>
          <a:prstGeom prst="rect">
            <a:avLst/>
          </a:prstGeom>
          <a:noFill/>
        </p:spPr>
        <p:txBody>
          <a:bodyPr wrap="square" lIns="91292" tIns="45646" rIns="91292" bIns="45646" rtlCol="0">
            <a:spAutoFit/>
          </a:bodyPr>
          <a:lstStyle/>
          <a:p>
            <a:r>
              <a:rPr lang="ru-RU" sz="1600" b="1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</a:t>
            </a:r>
            <a:r>
              <a:rPr lang="ru-RU" sz="1600" b="1" i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600" b="1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ще более 20 000 компаний </a:t>
            </a:r>
            <a:r>
              <a:rPr lang="ru-RU" sz="1600" b="1" i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 </a:t>
            </a:r>
            <a:r>
              <a:rPr lang="ru-RU" sz="1600" b="1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сей стране</a:t>
            </a:r>
          </a:p>
        </p:txBody>
      </p:sp>
    </p:spTree>
    <p:extLst>
      <p:ext uri="{BB962C8B-B14F-4D97-AF65-F5344CB8AC3E}">
        <p14:creationId xmlns:p14="http://schemas.microsoft.com/office/powerpoint/2010/main" val="2268742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1276"/>
    </mc:Choice>
    <mc:Fallback xmlns="">
      <p:transition advTm="21276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2&quot;/&gt;&lt;/elem&gt;&lt;key val=&quot;3&quot;/&gt;&lt;elem&gt;&lt;m_nPartnerID val=&quot;530&quot;/&gt;&lt;m_nIndex val=&quot;2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m_chDecimalSymbol17909&gt;,&lt;/m_chDecimalSymbol17909&gt;&lt;m_nGroupingDigits17909 val=&quot;3&quot;/&gt;&lt;m_chGroupingSymbol17909&gt; &lt;/m_chGroupingSymbol17909&gt;&lt;/m_precDefault&gt;&lt;/CDefaultPrec&gt;&lt;/root&gt;"/>
  <p:tag name="THINKCELLUNDODONOTDELETE" val="18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lesNi9rEyLfRc4uVmj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mFzJUXYkSPvMO2PfjZ9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WSDYg0rEeW2ntT_SKN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lesNi9rEyLfRc4uVmjA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lesNi9rEyLfRc4uVmjA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lesNi9rEyLfRc4uVmjA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lesNi9rEyLfRc4uVmjA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lesNi9rEyLfRc4uVmjA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lesNi9rEyLfRc4uVmj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lesNi9rEyLfRc4uVmjA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mFzJUXYkSPvMO2PfjZ9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WSDYg0rEeW2ntT_SKNo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lesNi9rEyLfRc4uVmjA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mFzJUXYkSPvMO2PfjZ9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WSDYg0rEeW2ntT_SKNo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lesNi9rEyLfRc4uVmjA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mFzJUXYkSPvMO2PfjZ9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mFzJUXYkSPvMO2PfjZ9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WSDYg0rEeW2ntT_SKN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lesNi9rEyLfRc4uVmjA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mFzJUXYkSPvMO2PfjZ9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WSDYg0rEeW2ntT_SKNo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BDJcWf50a2ogtXRKVS4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mFzJUXYkSPvMO2PfjZ9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WSDYg0rEeW2ntT_SKN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lesNi9rEyLfRc4uVmjA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mFzJUXYkSPvMO2PfjZ9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WSDYg0rEeW2ntT_SKNo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BDJcWf50a2ogtXRKVS4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mFzJUXYkSPvMO2PfjZ9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WSDYg0rEeW2ntT_SKNo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BDJcWf50a2ogtXRKVS4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mFzJUXYkSPvMO2PfjZ9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mFzJUXYkSPvMO2PfjZ9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WSDYg0rEeW2ntT_SKN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lesNi9rEyLfRc4uVmj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LpTb04kkeRPjBdokCW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CJn1oSzkaiHoNLpoKe7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Исполнительная">
  <a:themeElements>
    <a:clrScheme name="Исполнительная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Исполнительная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Исполнитель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Исполнительная">
  <a:themeElements>
    <a:clrScheme name="Исполнительная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Исполнительная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Исполнитель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xecutive</Template>
  <TotalTime>6727737</TotalTime>
  <Words>422</Words>
  <Application>Microsoft Office PowerPoint</Application>
  <PresentationFormat>Произвольный</PresentationFormat>
  <Paragraphs>101</Paragraphs>
  <Slides>14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7" baseType="lpstr">
      <vt:lpstr>Исполнительная</vt:lpstr>
      <vt:lpstr>1_Исполнительная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лександр Шпринц</dc:creator>
  <cp:lastModifiedBy>1</cp:lastModifiedBy>
  <cp:revision>665</cp:revision>
  <cp:lastPrinted>2016-10-28T11:17:21Z</cp:lastPrinted>
  <dcterms:created xsi:type="dcterms:W3CDTF">2013-05-27T16:12:37Z</dcterms:created>
  <dcterms:modified xsi:type="dcterms:W3CDTF">2017-03-22T12:10:17Z</dcterms:modified>
</cp:coreProperties>
</file>